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18" r:id="rId5"/>
  </p:sldMasterIdLst>
  <p:notesMasterIdLst>
    <p:notesMasterId r:id="rId16"/>
  </p:notesMasterIdLst>
  <p:handoutMasterIdLst>
    <p:handoutMasterId r:id="rId17"/>
  </p:handoutMasterIdLst>
  <p:sldIdLst>
    <p:sldId id="257" r:id="rId6"/>
    <p:sldId id="2147375351" r:id="rId7"/>
    <p:sldId id="2147375422" r:id="rId8"/>
    <p:sldId id="2147375425" r:id="rId9"/>
    <p:sldId id="2147375406" r:id="rId10"/>
    <p:sldId id="2147375423" r:id="rId11"/>
    <p:sldId id="2147375424" r:id="rId12"/>
    <p:sldId id="2147375417" r:id="rId13"/>
    <p:sldId id="2147375421" r:id="rId14"/>
    <p:sldId id="2147375407" r:id="rId15"/>
  </p:sldIdLst>
  <p:sldSz cx="12192000" cy="6858000"/>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2A5899E3-E874-DF47-993D-5DE5F40CF833}">
          <p14:sldIdLst>
            <p14:sldId id="257"/>
          </p14:sldIdLst>
        </p14:section>
        <p14:section name="Open Data Allgemein" id="{BDF5CF6A-305D-5B41-8D65-E867B27A7AFE}">
          <p14:sldIdLst/>
        </p14:section>
        <p14:section name="Open Data Beispiele" id="{2EC5738B-E6D5-C140-9F4E-9627D455AB02}">
          <p14:sldIdLst>
            <p14:sldId id="2147375351"/>
            <p14:sldId id="2147375422"/>
          </p14:sldIdLst>
        </p14:section>
        <p14:section name="open bydata Allgemein" id="{01EABCB7-4DE6-674C-9D15-B319B47C9834}">
          <p14:sldIdLst>
            <p14:sldId id="2147375425"/>
            <p14:sldId id="2147375406"/>
            <p14:sldId id="2147375423"/>
            <p14:sldId id="2147375424"/>
            <p14:sldId id="2147375417"/>
            <p14:sldId id="2147375421"/>
          </p14:sldIdLst>
        </p14:section>
        <p14:section name="open bydata Schlussfolien" id="{B7BA7127-97EF-FF46-88FD-C12E1364259A}">
          <p14:sldIdLst>
            <p14:sldId id="2147375407"/>
          </p14:sldIdLst>
        </p14:section>
        <p14:section name="open bydata Technologie" id="{9BCDE16D-891B-3F4C-882E-DEE6326EF7A9}">
          <p14:sldIdLst/>
        </p14:section>
        <p14:section name="byte Allgemein" id="{97FE1486-6023-EA44-98C2-ED3B874FF63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0F0473F-64DD-3416-3A84-259F60876F06}" name="Luis Moßburger" initials="LM" userId="S::luis.mossburger@byte.bayern::2a606c2b-1031-4842-b567-351303c62b15" providerId="AD"/>
  <p188:author id="{332EDC53-B252-63C7-A8E6-67566935B8C2}" name="Florian Baumann (byte)" initials="FB(" userId="S::florian.baumann@byte.bayern::dbda361c-4caf-402c-ab43-225840f05745" providerId="AD"/>
  <p188:author id="{E0FBB56F-7EB1-0230-E1C4-73744FED7DD6}" name="Svenja Nevermann" initials="SN" userId="S::svenja.nevermann@byte.bayern::124a99b4-b60b-435e-83fc-b532df9a4f40" providerId="AD"/>
  <p188:author id="{9A25A0B1-B006-CC01-2277-F41923101BCF}" name="Luis Moßburger" initials="LM" userId="S::Luis.Mossburger@byte.bayern::2a606c2b-1031-4842-b567-351303c62b1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5378"/>
    <a:srgbClr val="7AADFF"/>
    <a:srgbClr val="009FE3"/>
    <a:srgbClr val="A0D9F8"/>
    <a:srgbClr val="D4EDFC"/>
    <a:srgbClr val="E1DD00"/>
    <a:srgbClr val="E30613"/>
    <a:srgbClr val="00B4C2"/>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4F8F77-5156-B642-A9F9-F092C68D293B}" v="173" dt="2024-01-17T18:00:55.34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37"/>
    <p:restoredTop sz="94638"/>
  </p:normalViewPr>
  <p:slideViewPr>
    <p:cSldViewPr snapToGrid="0">
      <p:cViewPr varScale="1">
        <p:scale>
          <a:sx n="128" d="100"/>
          <a:sy n="128" d="100"/>
        </p:scale>
        <p:origin x="176" y="1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uis Moßburger" userId="S::luis.mossburger@byte.bayern::2a606c2b-1031-4842-b567-351303c62b15" providerId="AD" clId="Web-{7EB00326-1F40-B46D-AADD-6004CDD8E357}"/>
    <pc:docChg chg="modSld">
      <pc:chgData name="Luis Moßburger" userId="S::luis.mossburger@byte.bayern::2a606c2b-1031-4842-b567-351303c62b15" providerId="AD" clId="Web-{7EB00326-1F40-B46D-AADD-6004CDD8E357}" dt="2023-12-12T09:46:42.395" v="1" actId="1076"/>
      <pc:docMkLst>
        <pc:docMk/>
      </pc:docMkLst>
      <pc:sldChg chg="modSp">
        <pc:chgData name="Luis Moßburger" userId="S::luis.mossburger@byte.bayern::2a606c2b-1031-4842-b567-351303c62b15" providerId="AD" clId="Web-{7EB00326-1F40-B46D-AADD-6004CDD8E357}" dt="2023-12-12T09:46:42.395" v="1" actId="1076"/>
        <pc:sldMkLst>
          <pc:docMk/>
          <pc:sldMk cId="2693242410" sldId="2147375348"/>
        </pc:sldMkLst>
        <pc:grpChg chg="mod">
          <ac:chgData name="Luis Moßburger" userId="S::luis.mossburger@byte.bayern::2a606c2b-1031-4842-b567-351303c62b15" providerId="AD" clId="Web-{7EB00326-1F40-B46D-AADD-6004CDD8E357}" dt="2023-12-12T09:46:42.395" v="1" actId="1076"/>
          <ac:grpSpMkLst>
            <pc:docMk/>
            <pc:sldMk cId="2693242410" sldId="2147375348"/>
            <ac:grpSpMk id="52" creationId="{001F4B50-F365-A60E-6A8E-AE6EC935E093}"/>
          </ac:grpSpMkLst>
        </pc:grpChg>
      </pc:sldChg>
    </pc:docChg>
  </pc:docChgLst>
  <pc:docChgLst>
    <pc:chgData name="Luis Moßburger" userId="S::luis.mossburger@byte.bayern::2a606c2b-1031-4842-b567-351303c62b15" providerId="AD" clId="Web-{2511EB12-9690-8EE3-5B82-00CB19518E36}"/>
    <pc:docChg chg="delSld modSld modSection">
      <pc:chgData name="Luis Moßburger" userId="S::luis.mossburger@byte.bayern::2a606c2b-1031-4842-b567-351303c62b15" providerId="AD" clId="Web-{2511EB12-9690-8EE3-5B82-00CB19518E36}" dt="2023-11-22T16:06:04.873" v="24"/>
      <pc:docMkLst>
        <pc:docMk/>
      </pc:docMkLst>
      <pc:sldChg chg="del">
        <pc:chgData name="Luis Moßburger" userId="S::luis.mossburger@byte.bayern::2a606c2b-1031-4842-b567-351303c62b15" providerId="AD" clId="Web-{2511EB12-9690-8EE3-5B82-00CB19518E36}" dt="2023-11-22T16:06:04.873" v="24"/>
        <pc:sldMkLst>
          <pc:docMk/>
          <pc:sldMk cId="4067000183" sldId="2147375353"/>
        </pc:sldMkLst>
      </pc:sldChg>
      <pc:sldChg chg="del">
        <pc:chgData name="Luis Moßburger" userId="S::luis.mossburger@byte.bayern::2a606c2b-1031-4842-b567-351303c62b15" providerId="AD" clId="Web-{2511EB12-9690-8EE3-5B82-00CB19518E36}" dt="2023-11-22T16:05:52.920" v="22"/>
        <pc:sldMkLst>
          <pc:docMk/>
          <pc:sldMk cId="2203623336" sldId="2147375413"/>
        </pc:sldMkLst>
      </pc:sldChg>
      <pc:sldChg chg="del">
        <pc:chgData name="Luis Moßburger" userId="S::luis.mossburger@byte.bayern::2a606c2b-1031-4842-b567-351303c62b15" providerId="AD" clId="Web-{2511EB12-9690-8EE3-5B82-00CB19518E36}" dt="2023-11-22T16:05:52.920" v="21"/>
        <pc:sldMkLst>
          <pc:docMk/>
          <pc:sldMk cId="30963205" sldId="2147375414"/>
        </pc:sldMkLst>
      </pc:sldChg>
      <pc:sldChg chg="del">
        <pc:chgData name="Luis Moßburger" userId="S::luis.mossburger@byte.bayern::2a606c2b-1031-4842-b567-351303c62b15" providerId="AD" clId="Web-{2511EB12-9690-8EE3-5B82-00CB19518E36}" dt="2023-11-22T16:05:52.935" v="23"/>
        <pc:sldMkLst>
          <pc:docMk/>
          <pc:sldMk cId="3020728369" sldId="2147375415"/>
        </pc:sldMkLst>
      </pc:sldChg>
      <pc:sldChg chg="addSp delSp modSp">
        <pc:chgData name="Luis Moßburger" userId="S::luis.mossburger@byte.bayern::2a606c2b-1031-4842-b567-351303c62b15" providerId="AD" clId="Web-{2511EB12-9690-8EE3-5B82-00CB19518E36}" dt="2023-11-22T16:05:41.045" v="20"/>
        <pc:sldMkLst>
          <pc:docMk/>
          <pc:sldMk cId="1715779464" sldId="2147375416"/>
        </pc:sldMkLst>
        <pc:spChg chg="del">
          <ac:chgData name="Luis Moßburger" userId="S::luis.mossburger@byte.bayern::2a606c2b-1031-4842-b567-351303c62b15" providerId="AD" clId="Web-{2511EB12-9690-8EE3-5B82-00CB19518E36}" dt="2023-11-22T16:02:46.232" v="0"/>
          <ac:spMkLst>
            <pc:docMk/>
            <pc:sldMk cId="1715779464" sldId="2147375416"/>
            <ac:spMk id="6" creationId="{A88764F5-0D2E-BBB7-2ADD-07BAC166D637}"/>
          </ac:spMkLst>
        </pc:spChg>
        <pc:spChg chg="add del mod">
          <ac:chgData name="Luis Moßburger" userId="S::luis.mossburger@byte.bayern::2a606c2b-1031-4842-b567-351303c62b15" providerId="AD" clId="Web-{2511EB12-9690-8EE3-5B82-00CB19518E36}" dt="2023-11-22T16:03:00.592" v="3"/>
          <ac:spMkLst>
            <pc:docMk/>
            <pc:sldMk cId="1715779464" sldId="2147375416"/>
            <ac:spMk id="9" creationId="{93A91589-8BE9-B640-4EF0-16060D9A6752}"/>
          </ac:spMkLst>
        </pc:spChg>
        <pc:spChg chg="add del mod">
          <ac:chgData name="Luis Moßburger" userId="S::luis.mossburger@byte.bayern::2a606c2b-1031-4842-b567-351303c62b15" providerId="AD" clId="Web-{2511EB12-9690-8EE3-5B82-00CB19518E36}" dt="2023-11-22T16:05:33.920" v="18"/>
          <ac:spMkLst>
            <pc:docMk/>
            <pc:sldMk cId="1715779464" sldId="2147375416"/>
            <ac:spMk id="14" creationId="{12DEF875-D654-C448-48A6-DD8D468ACAA8}"/>
          </ac:spMkLst>
        </pc:spChg>
        <pc:picChg chg="add del mod ord">
          <ac:chgData name="Luis Moßburger" userId="S::luis.mossburger@byte.bayern::2a606c2b-1031-4842-b567-351303c62b15" providerId="AD" clId="Web-{2511EB12-9690-8EE3-5B82-00CB19518E36}" dt="2023-11-22T16:02:56.310" v="1"/>
          <ac:picMkLst>
            <pc:docMk/>
            <pc:sldMk cId="1715779464" sldId="2147375416"/>
            <ac:picMk id="7" creationId="{2433D89D-2CE7-6176-F42D-C2AEDBA0D629}"/>
          </ac:picMkLst>
        </pc:picChg>
        <pc:picChg chg="add del mod ord modCrop">
          <ac:chgData name="Luis Moßburger" userId="S::luis.mossburger@byte.bayern::2a606c2b-1031-4842-b567-351303c62b15" providerId="AD" clId="Web-{2511EB12-9690-8EE3-5B82-00CB19518E36}" dt="2023-11-22T16:05:06.404" v="17"/>
          <ac:picMkLst>
            <pc:docMk/>
            <pc:sldMk cId="1715779464" sldId="2147375416"/>
            <ac:picMk id="10" creationId="{9C068258-C878-45C3-D972-72F6AC96DA03}"/>
          </ac:picMkLst>
        </pc:picChg>
        <pc:picChg chg="add del mod ord">
          <ac:chgData name="Luis Moßburger" userId="S::luis.mossburger@byte.bayern::2a606c2b-1031-4842-b567-351303c62b15" providerId="AD" clId="Web-{2511EB12-9690-8EE3-5B82-00CB19518E36}" dt="2023-11-22T16:05:41.045" v="20"/>
          <ac:picMkLst>
            <pc:docMk/>
            <pc:sldMk cId="1715779464" sldId="2147375416"/>
            <ac:picMk id="12" creationId="{2B9180BC-1254-310E-9C3B-D1868E2BD12E}"/>
          </ac:picMkLst>
        </pc:picChg>
        <pc:picChg chg="add mod ord">
          <ac:chgData name="Luis Moßburger" userId="S::luis.mossburger@byte.bayern::2a606c2b-1031-4842-b567-351303c62b15" providerId="AD" clId="Web-{2511EB12-9690-8EE3-5B82-00CB19518E36}" dt="2023-11-22T16:05:40.732" v="19"/>
          <ac:picMkLst>
            <pc:docMk/>
            <pc:sldMk cId="1715779464" sldId="2147375416"/>
            <ac:picMk id="15" creationId="{B83C6251-BC7A-330F-E1D3-5C19A0791008}"/>
          </ac:picMkLst>
        </pc:picChg>
        <pc:picChg chg="del">
          <ac:chgData name="Luis Moßburger" userId="S::luis.mossburger@byte.bayern::2a606c2b-1031-4842-b567-351303c62b15" providerId="AD" clId="Web-{2511EB12-9690-8EE3-5B82-00CB19518E36}" dt="2023-11-22T16:02:56.529" v="2"/>
          <ac:picMkLst>
            <pc:docMk/>
            <pc:sldMk cId="1715779464" sldId="2147375416"/>
            <ac:picMk id="20" creationId="{3DEA036A-232B-2C8F-CF4E-F3B7C065EB52}"/>
          </ac:picMkLst>
        </pc:picChg>
      </pc:sldChg>
    </pc:docChg>
  </pc:docChgLst>
  <pc:docChgLst>
    <pc:chgData name="Luis Moßburger" userId="S::luis.mossburger@byte.bayern::2a606c2b-1031-4842-b567-351303c62b15" providerId="AD" clId="Web-{214FC7E9-2A24-D6BB-3806-5AD2569D269E}"/>
    <pc:docChg chg="addSld delSld modSld sldOrd addMainMaster modMainMaster">
      <pc:chgData name="Luis Moßburger" userId="S::luis.mossburger@byte.bayern::2a606c2b-1031-4842-b567-351303c62b15" providerId="AD" clId="Web-{214FC7E9-2A24-D6BB-3806-5AD2569D269E}" dt="2023-11-05T15:25:00.190" v="141" actId="20577"/>
      <pc:docMkLst>
        <pc:docMk/>
      </pc:docMkLst>
      <pc:sldChg chg="addSp delSp modSp ord">
        <pc:chgData name="Luis Moßburger" userId="S::luis.mossburger@byte.bayern::2a606c2b-1031-4842-b567-351303c62b15" providerId="AD" clId="Web-{214FC7E9-2A24-D6BB-3806-5AD2569D269E}" dt="2023-11-05T15:15:36.730" v="108"/>
        <pc:sldMkLst>
          <pc:docMk/>
          <pc:sldMk cId="2201049876" sldId="257"/>
        </pc:sldMkLst>
        <pc:spChg chg="mod">
          <ac:chgData name="Luis Moßburger" userId="S::luis.mossburger@byte.bayern::2a606c2b-1031-4842-b567-351303c62b15" providerId="AD" clId="Web-{214FC7E9-2A24-D6BB-3806-5AD2569D269E}" dt="2023-11-05T15:13:40.104" v="91" actId="20577"/>
          <ac:spMkLst>
            <pc:docMk/>
            <pc:sldMk cId="2201049876" sldId="257"/>
            <ac:spMk id="4" creationId="{E5DC4C78-0BE6-389E-DD83-93AD608B48C0}"/>
          </ac:spMkLst>
        </pc:spChg>
        <pc:picChg chg="add del mod">
          <ac:chgData name="Luis Moßburger" userId="S::luis.mossburger@byte.bayern::2a606c2b-1031-4842-b567-351303c62b15" providerId="AD" clId="Web-{214FC7E9-2A24-D6BB-3806-5AD2569D269E}" dt="2023-11-05T15:15:36.730" v="108"/>
          <ac:picMkLst>
            <pc:docMk/>
            <pc:sldMk cId="2201049876" sldId="257"/>
            <ac:picMk id="2" creationId="{7C950154-7A31-30C9-9FA1-7EBFA399590B}"/>
          </ac:picMkLst>
        </pc:picChg>
      </pc:sldChg>
      <pc:sldChg chg="del">
        <pc:chgData name="Luis Moßburger" userId="S::luis.mossburger@byte.bayern::2a606c2b-1031-4842-b567-351303c62b15" providerId="AD" clId="Web-{214FC7E9-2A24-D6BB-3806-5AD2569D269E}" dt="2023-11-05T15:08:40.631" v="54"/>
        <pc:sldMkLst>
          <pc:docMk/>
          <pc:sldMk cId="3818800574" sldId="289"/>
        </pc:sldMkLst>
      </pc:sldChg>
      <pc:sldChg chg="modSp">
        <pc:chgData name="Luis Moßburger" userId="S::luis.mossburger@byte.bayern::2a606c2b-1031-4842-b567-351303c62b15" providerId="AD" clId="Web-{214FC7E9-2A24-D6BB-3806-5AD2569D269E}" dt="2023-11-05T15:09:48.241" v="61" actId="20577"/>
        <pc:sldMkLst>
          <pc:docMk/>
          <pc:sldMk cId="2899031232" sldId="2147375374"/>
        </pc:sldMkLst>
        <pc:spChg chg="mod">
          <ac:chgData name="Luis Moßburger" userId="S::luis.mossburger@byte.bayern::2a606c2b-1031-4842-b567-351303c62b15" providerId="AD" clId="Web-{214FC7E9-2A24-D6BB-3806-5AD2569D269E}" dt="2023-11-05T15:09:48.241" v="61" actId="20577"/>
          <ac:spMkLst>
            <pc:docMk/>
            <pc:sldMk cId="2899031232" sldId="2147375374"/>
            <ac:spMk id="7" creationId="{F2CA45AE-1AC5-BF75-EA05-595E50FF532D}"/>
          </ac:spMkLst>
        </pc:spChg>
      </pc:sldChg>
      <pc:sldChg chg="del">
        <pc:chgData name="Luis Moßburger" userId="S::luis.mossburger@byte.bayern::2a606c2b-1031-4842-b567-351303c62b15" providerId="AD" clId="Web-{214FC7E9-2A24-D6BB-3806-5AD2569D269E}" dt="2023-11-05T15:08:27.740" v="53"/>
        <pc:sldMkLst>
          <pc:docMk/>
          <pc:sldMk cId="547071293" sldId="2147375376"/>
        </pc:sldMkLst>
      </pc:sldChg>
      <pc:sldChg chg="del">
        <pc:chgData name="Luis Moßburger" userId="S::luis.mossburger@byte.bayern::2a606c2b-1031-4842-b567-351303c62b15" providerId="AD" clId="Web-{214FC7E9-2A24-D6BB-3806-5AD2569D269E}" dt="2023-11-05T15:08:24.381" v="52"/>
        <pc:sldMkLst>
          <pc:docMk/>
          <pc:sldMk cId="2956064268" sldId="2147375377"/>
        </pc:sldMkLst>
      </pc:sldChg>
      <pc:sldChg chg="addSp modSp new ord">
        <pc:chgData name="Luis Moßburger" userId="S::luis.mossburger@byte.bayern::2a606c2b-1031-4842-b567-351303c62b15" providerId="AD" clId="Web-{214FC7E9-2A24-D6BB-3806-5AD2569D269E}" dt="2023-11-05T15:15:53.262" v="113" actId="20577"/>
        <pc:sldMkLst>
          <pc:docMk/>
          <pc:sldMk cId="2113340326" sldId="2147375379"/>
        </pc:sldMkLst>
        <pc:spChg chg="add mod">
          <ac:chgData name="Luis Moßburger" userId="S::luis.mossburger@byte.bayern::2a606c2b-1031-4842-b567-351303c62b15" providerId="AD" clId="Web-{214FC7E9-2A24-D6BB-3806-5AD2569D269E}" dt="2023-11-05T15:15:53.262" v="113" actId="20577"/>
          <ac:spMkLst>
            <pc:docMk/>
            <pc:sldMk cId="2113340326" sldId="2147375379"/>
            <ac:spMk id="6" creationId="{B7A7FC78-53E4-F5A0-E41D-36AD038EF6F4}"/>
          </ac:spMkLst>
        </pc:spChg>
      </pc:sldChg>
      <pc:sldChg chg="add replId">
        <pc:chgData name="Luis Moßburger" userId="S::luis.mossburger@byte.bayern::2a606c2b-1031-4842-b567-351303c62b15" providerId="AD" clId="Web-{214FC7E9-2A24-D6BB-3806-5AD2569D269E}" dt="2023-11-05T15:07:32.740" v="33"/>
        <pc:sldMkLst>
          <pc:docMk/>
          <pc:sldMk cId="4264803930" sldId="2147375380"/>
        </pc:sldMkLst>
      </pc:sldChg>
      <pc:sldChg chg="add replId">
        <pc:chgData name="Luis Moßburger" userId="S::luis.mossburger@byte.bayern::2a606c2b-1031-4842-b567-351303c62b15" providerId="AD" clId="Web-{214FC7E9-2A24-D6BB-3806-5AD2569D269E}" dt="2023-11-05T15:10:58.633" v="62"/>
        <pc:sldMkLst>
          <pc:docMk/>
          <pc:sldMk cId="1858073388" sldId="2147375381"/>
        </pc:sldMkLst>
      </pc:sldChg>
      <pc:sldChg chg="modSp add replId">
        <pc:chgData name="Luis Moßburger" userId="S::luis.mossburger@byte.bayern::2a606c2b-1031-4842-b567-351303c62b15" providerId="AD" clId="Web-{214FC7E9-2A24-D6BB-3806-5AD2569D269E}" dt="2023-11-05T15:11:15.446" v="82" actId="20577"/>
        <pc:sldMkLst>
          <pc:docMk/>
          <pc:sldMk cId="3628758409" sldId="2147375382"/>
        </pc:sldMkLst>
        <pc:spChg chg="mod">
          <ac:chgData name="Luis Moßburger" userId="S::luis.mossburger@byte.bayern::2a606c2b-1031-4842-b567-351303c62b15" providerId="AD" clId="Web-{214FC7E9-2A24-D6BB-3806-5AD2569D269E}" dt="2023-11-05T15:11:15.446" v="82" actId="20577"/>
          <ac:spMkLst>
            <pc:docMk/>
            <pc:sldMk cId="3628758409" sldId="2147375382"/>
            <ac:spMk id="6" creationId="{B7A7FC78-53E4-F5A0-E41D-36AD038EF6F4}"/>
          </ac:spMkLst>
        </pc:spChg>
      </pc:sldChg>
      <pc:sldChg chg="add replId">
        <pc:chgData name="Luis Moßburger" userId="S::luis.mossburger@byte.bayern::2a606c2b-1031-4842-b567-351303c62b15" providerId="AD" clId="Web-{214FC7E9-2A24-D6BB-3806-5AD2569D269E}" dt="2023-11-05T15:15:48.308" v="109"/>
        <pc:sldMkLst>
          <pc:docMk/>
          <pc:sldMk cId="2199465480" sldId="2147375383"/>
        </pc:sldMkLst>
      </pc:sldChg>
      <pc:sldChg chg="modSp add replId">
        <pc:chgData name="Luis Moßburger" userId="S::luis.mossburger@byte.bayern::2a606c2b-1031-4842-b567-351303c62b15" providerId="AD" clId="Web-{214FC7E9-2A24-D6BB-3806-5AD2569D269E}" dt="2023-11-05T15:17:37.700" v="121" actId="20577"/>
        <pc:sldMkLst>
          <pc:docMk/>
          <pc:sldMk cId="1833795839" sldId="2147375384"/>
        </pc:sldMkLst>
        <pc:spChg chg="mod">
          <ac:chgData name="Luis Moßburger" userId="S::luis.mossburger@byte.bayern::2a606c2b-1031-4842-b567-351303c62b15" providerId="AD" clId="Web-{214FC7E9-2A24-D6BB-3806-5AD2569D269E}" dt="2023-11-05T15:17:37.700" v="121" actId="20577"/>
          <ac:spMkLst>
            <pc:docMk/>
            <pc:sldMk cId="1833795839" sldId="2147375384"/>
            <ac:spMk id="6" creationId="{B7A7FC78-53E4-F5A0-E41D-36AD038EF6F4}"/>
          </ac:spMkLst>
        </pc:spChg>
      </pc:sldChg>
      <pc:sldChg chg="add">
        <pc:chgData name="Luis Moßburger" userId="S::luis.mossburger@byte.bayern::2a606c2b-1031-4842-b567-351303c62b15" providerId="AD" clId="Web-{214FC7E9-2A24-D6BB-3806-5AD2569D269E}" dt="2023-11-05T15:20:38.296" v="122"/>
        <pc:sldMkLst>
          <pc:docMk/>
          <pc:sldMk cId="4039138997" sldId="2147375385"/>
        </pc:sldMkLst>
      </pc:sldChg>
      <pc:sldChg chg="add">
        <pc:chgData name="Luis Moßburger" userId="S::luis.mossburger@byte.bayern::2a606c2b-1031-4842-b567-351303c62b15" providerId="AD" clId="Web-{214FC7E9-2A24-D6BB-3806-5AD2569D269E}" dt="2023-11-05T15:20:56.469" v="123"/>
        <pc:sldMkLst>
          <pc:docMk/>
          <pc:sldMk cId="3410771101" sldId="2147375386"/>
        </pc:sldMkLst>
      </pc:sldChg>
      <pc:sldChg chg="add">
        <pc:chgData name="Luis Moßburger" userId="S::luis.mossburger@byte.bayern::2a606c2b-1031-4842-b567-351303c62b15" providerId="AD" clId="Web-{214FC7E9-2A24-D6BB-3806-5AD2569D269E}" dt="2023-11-05T15:21:13.937" v="126"/>
        <pc:sldMkLst>
          <pc:docMk/>
          <pc:sldMk cId="1428234475" sldId="2147375387"/>
        </pc:sldMkLst>
      </pc:sldChg>
      <pc:sldChg chg="add del">
        <pc:chgData name="Luis Moßburger" userId="S::luis.mossburger@byte.bayern::2a606c2b-1031-4842-b567-351303c62b15" providerId="AD" clId="Web-{214FC7E9-2A24-D6BB-3806-5AD2569D269E}" dt="2023-11-05T15:21:09.047" v="125"/>
        <pc:sldMkLst>
          <pc:docMk/>
          <pc:sldMk cId="3659239134" sldId="2147375387"/>
        </pc:sldMkLst>
      </pc:sldChg>
      <pc:sldChg chg="delSp modSp add replId">
        <pc:chgData name="Luis Moßburger" userId="S::luis.mossburger@byte.bayern::2a606c2b-1031-4842-b567-351303c62b15" providerId="AD" clId="Web-{214FC7E9-2A24-D6BB-3806-5AD2569D269E}" dt="2023-11-05T15:21:52.563" v="135" actId="20577"/>
        <pc:sldMkLst>
          <pc:docMk/>
          <pc:sldMk cId="2778957091" sldId="2147375388"/>
        </pc:sldMkLst>
        <pc:spChg chg="mod">
          <ac:chgData name="Luis Moßburger" userId="S::luis.mossburger@byte.bayern::2a606c2b-1031-4842-b567-351303c62b15" providerId="AD" clId="Web-{214FC7E9-2A24-D6BB-3806-5AD2569D269E}" dt="2023-11-05T15:21:52.563" v="135" actId="20577"/>
          <ac:spMkLst>
            <pc:docMk/>
            <pc:sldMk cId="2778957091" sldId="2147375388"/>
            <ac:spMk id="4" creationId="{0BAD73DB-F93B-C53B-9219-E3E1CCE59372}"/>
          </ac:spMkLst>
        </pc:spChg>
        <pc:spChg chg="mod">
          <ac:chgData name="Luis Moßburger" userId="S::luis.mossburger@byte.bayern::2a606c2b-1031-4842-b567-351303c62b15" providerId="AD" clId="Web-{214FC7E9-2A24-D6BB-3806-5AD2569D269E}" dt="2023-11-05T15:21:48.313" v="133" actId="20577"/>
          <ac:spMkLst>
            <pc:docMk/>
            <pc:sldMk cId="2778957091" sldId="2147375388"/>
            <ac:spMk id="5" creationId="{B020CBF2-31A9-1FFC-5226-7F3DA0309249}"/>
          </ac:spMkLst>
        </pc:spChg>
        <pc:picChg chg="del">
          <ac:chgData name="Luis Moßburger" userId="S::luis.mossburger@byte.bayern::2a606c2b-1031-4842-b567-351303c62b15" providerId="AD" clId="Web-{214FC7E9-2A24-D6BB-3806-5AD2569D269E}" dt="2023-11-05T15:21:50.094" v="134"/>
          <ac:picMkLst>
            <pc:docMk/>
            <pc:sldMk cId="2778957091" sldId="2147375388"/>
            <ac:picMk id="8" creationId="{ECC5071F-0287-D44E-930C-540F97C57804}"/>
          </ac:picMkLst>
        </pc:picChg>
      </pc:sldChg>
      <pc:sldChg chg="modSp new">
        <pc:chgData name="Luis Moßburger" userId="S::luis.mossburger@byte.bayern::2a606c2b-1031-4842-b567-351303c62b15" providerId="AD" clId="Web-{214FC7E9-2A24-D6BB-3806-5AD2569D269E}" dt="2023-11-05T15:25:00.190" v="141" actId="20577"/>
        <pc:sldMkLst>
          <pc:docMk/>
          <pc:sldMk cId="1315969937" sldId="2147375389"/>
        </pc:sldMkLst>
        <pc:spChg chg="mod">
          <ac:chgData name="Luis Moßburger" userId="S::luis.mossburger@byte.bayern::2a606c2b-1031-4842-b567-351303c62b15" providerId="AD" clId="Web-{214FC7E9-2A24-D6BB-3806-5AD2569D269E}" dt="2023-11-05T15:25:00.190" v="141" actId="20577"/>
          <ac:spMkLst>
            <pc:docMk/>
            <pc:sldMk cId="1315969937" sldId="2147375389"/>
            <ac:spMk id="2" creationId="{A9C3D6A4-13F0-8728-A927-8F111698188F}"/>
          </ac:spMkLst>
        </pc:spChg>
      </pc:sldChg>
      <pc:sldMasterChg chg="modSldLayout">
        <pc:chgData name="Luis Moßburger" userId="S::luis.mossburger@byte.bayern::2a606c2b-1031-4842-b567-351303c62b15" providerId="AD" clId="Web-{214FC7E9-2A24-D6BB-3806-5AD2569D269E}" dt="2023-11-05T15:20:38.296" v="122"/>
        <pc:sldMasterMkLst>
          <pc:docMk/>
          <pc:sldMasterMk cId="3689281850" sldId="2147483648"/>
        </pc:sldMasterMkLst>
        <pc:sldLayoutChg chg="replId">
          <pc:chgData name="Luis Moßburger" userId="S::luis.mossburger@byte.bayern::2a606c2b-1031-4842-b567-351303c62b15" providerId="AD" clId="Web-{214FC7E9-2A24-D6BB-3806-5AD2569D269E}" dt="2023-11-05T15:20:38.296" v="122"/>
          <pc:sldLayoutMkLst>
            <pc:docMk/>
            <pc:sldMasterMk cId="3689281850" sldId="2147483648"/>
            <pc:sldLayoutMk cId="352356767" sldId="2147483721"/>
          </pc:sldLayoutMkLst>
        </pc:sldLayoutChg>
        <pc:sldLayoutChg chg="replId">
          <pc:chgData name="Luis Moßburger" userId="S::luis.mossburger@byte.bayern::2a606c2b-1031-4842-b567-351303c62b15" providerId="AD" clId="Web-{214FC7E9-2A24-D6BB-3806-5AD2569D269E}" dt="2023-11-05T15:20:38.296" v="122"/>
          <pc:sldLayoutMkLst>
            <pc:docMk/>
            <pc:sldMasterMk cId="3689281850" sldId="2147483648"/>
            <pc:sldLayoutMk cId="1305879275" sldId="2147483722"/>
          </pc:sldLayoutMkLst>
        </pc:sldLayoutChg>
        <pc:sldLayoutChg chg="replId">
          <pc:chgData name="Luis Moßburger" userId="S::luis.mossburger@byte.bayern::2a606c2b-1031-4842-b567-351303c62b15" providerId="AD" clId="Web-{214FC7E9-2A24-D6BB-3806-5AD2569D269E}" dt="2023-11-05T15:20:38.296" v="122"/>
          <pc:sldLayoutMkLst>
            <pc:docMk/>
            <pc:sldMasterMk cId="3689281850" sldId="2147483648"/>
            <pc:sldLayoutMk cId="2167692581" sldId="2147483723"/>
          </pc:sldLayoutMkLst>
        </pc:sldLayoutChg>
        <pc:sldLayoutChg chg="replId">
          <pc:chgData name="Luis Moßburger" userId="S::luis.mossburger@byte.bayern::2a606c2b-1031-4842-b567-351303c62b15" providerId="AD" clId="Web-{214FC7E9-2A24-D6BB-3806-5AD2569D269E}" dt="2023-11-05T15:20:38.296" v="122"/>
          <pc:sldLayoutMkLst>
            <pc:docMk/>
            <pc:sldMasterMk cId="3689281850" sldId="2147483648"/>
            <pc:sldLayoutMk cId="2489627343" sldId="2147483724"/>
          </pc:sldLayoutMkLst>
        </pc:sldLayoutChg>
        <pc:sldLayoutChg chg="replId">
          <pc:chgData name="Luis Moßburger" userId="S::luis.mossburger@byte.bayern::2a606c2b-1031-4842-b567-351303c62b15" providerId="AD" clId="Web-{214FC7E9-2A24-D6BB-3806-5AD2569D269E}" dt="2023-11-05T15:20:38.296" v="122"/>
          <pc:sldLayoutMkLst>
            <pc:docMk/>
            <pc:sldMasterMk cId="3689281850" sldId="2147483648"/>
            <pc:sldLayoutMk cId="1241139021" sldId="2147483725"/>
          </pc:sldLayoutMkLst>
        </pc:sldLayoutChg>
      </pc:sldMasterChg>
      <pc:sldMasterChg chg="add addSldLayout">
        <pc:chgData name="Luis Moßburger" userId="S::luis.mossburger@byte.bayern::2a606c2b-1031-4842-b567-351303c62b15" providerId="AD" clId="Web-{214FC7E9-2A24-D6BB-3806-5AD2569D269E}" dt="2023-11-05T15:20:38.296" v="122"/>
        <pc:sldMasterMkLst>
          <pc:docMk/>
          <pc:sldMasterMk cId="3689281850" sldId="2147483718"/>
        </pc:sldMasterMkLst>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554626039" sldId="2147483649"/>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721620909" sldId="2147483651"/>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994879884" sldId="2147483652"/>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2908760135" sldId="2147483653"/>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214302489" sldId="2147483654"/>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1951709784" sldId="2147483655"/>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2153096281" sldId="2147483659"/>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2391950306" sldId="2147483660"/>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554626039" sldId="2147483661"/>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48915243" sldId="2147483662"/>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2391950306" sldId="2147483663"/>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721620909" sldId="2147483664"/>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994879884" sldId="2147483665"/>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2153096281" sldId="2147483666"/>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2908760135" sldId="2147483667"/>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214302489" sldId="2147483668"/>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1951709784" sldId="2147483669"/>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1820548716" sldId="2147483670"/>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1913902303" sldId="2147483671"/>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48915243" sldId="2147483719"/>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3302055646" sldId="2147483720"/>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1820548716" sldId="2147483726"/>
          </pc:sldLayoutMkLst>
        </pc:sldLayoutChg>
        <pc:sldLayoutChg chg="add">
          <pc:chgData name="Luis Moßburger" userId="S::luis.mossburger@byte.bayern::2a606c2b-1031-4842-b567-351303c62b15" providerId="AD" clId="Web-{214FC7E9-2A24-D6BB-3806-5AD2569D269E}" dt="2023-11-05T15:20:38.296" v="122"/>
          <pc:sldLayoutMkLst>
            <pc:docMk/>
            <pc:sldMasterMk cId="3689281850" sldId="2147483718"/>
            <pc:sldLayoutMk cId="1913902303" sldId="2147483727"/>
          </pc:sldLayoutMkLst>
        </pc:sldLayoutChg>
      </pc:sldMasterChg>
    </pc:docChg>
  </pc:docChgLst>
  <pc:docChgLst>
    <pc:chgData name="Luis Moßburger" userId="S::luis.mossburger@byte.bayern::2a606c2b-1031-4842-b567-351303c62b15" providerId="AD" clId="Web-{1A9CA3FB-5FD2-A3FA-451A-B97D08145AC1}"/>
    <pc:docChg chg="addSld modSld modSection">
      <pc:chgData name="Luis Moßburger" userId="S::luis.mossburger@byte.bayern::2a606c2b-1031-4842-b567-351303c62b15" providerId="AD" clId="Web-{1A9CA3FB-5FD2-A3FA-451A-B97D08145AC1}" dt="2023-11-22T16:21:58.351" v="5"/>
      <pc:docMkLst>
        <pc:docMk/>
      </pc:docMkLst>
      <pc:sldChg chg="modSp">
        <pc:chgData name="Luis Moßburger" userId="S::luis.mossburger@byte.bayern::2a606c2b-1031-4842-b567-351303c62b15" providerId="AD" clId="Web-{1A9CA3FB-5FD2-A3FA-451A-B97D08145AC1}" dt="2023-11-22T16:09:01.102" v="4" actId="14100"/>
        <pc:sldMkLst>
          <pc:docMk/>
          <pc:sldMk cId="1715779464" sldId="2147375416"/>
        </pc:sldMkLst>
        <pc:picChg chg="mod">
          <ac:chgData name="Luis Moßburger" userId="S::luis.mossburger@byte.bayern::2a606c2b-1031-4842-b567-351303c62b15" providerId="AD" clId="Web-{1A9CA3FB-5FD2-A3FA-451A-B97D08145AC1}" dt="2023-11-22T16:09:01.102" v="4" actId="14100"/>
          <ac:picMkLst>
            <pc:docMk/>
            <pc:sldMk cId="1715779464" sldId="2147375416"/>
            <ac:picMk id="15" creationId="{B83C6251-BC7A-330F-E1D3-5C19A0791008}"/>
          </ac:picMkLst>
        </pc:picChg>
      </pc:sldChg>
      <pc:sldChg chg="add">
        <pc:chgData name="Luis Moßburger" userId="S::luis.mossburger@byte.bayern::2a606c2b-1031-4842-b567-351303c62b15" providerId="AD" clId="Web-{1A9CA3FB-5FD2-A3FA-451A-B97D08145AC1}" dt="2023-11-22T16:07:40.415" v="0"/>
        <pc:sldMkLst>
          <pc:docMk/>
          <pc:sldMk cId="364104577" sldId="2147375417"/>
        </pc:sldMkLst>
      </pc:sldChg>
      <pc:sldChg chg="add">
        <pc:chgData name="Luis Moßburger" userId="S::luis.mossburger@byte.bayern::2a606c2b-1031-4842-b567-351303c62b15" providerId="AD" clId="Web-{1A9CA3FB-5FD2-A3FA-451A-B97D08145AC1}" dt="2023-11-22T16:07:40.790" v="1"/>
        <pc:sldMkLst>
          <pc:docMk/>
          <pc:sldMk cId="1860187013" sldId="2147375418"/>
        </pc:sldMkLst>
      </pc:sldChg>
      <pc:sldChg chg="add">
        <pc:chgData name="Luis Moßburger" userId="S::luis.mossburger@byte.bayern::2a606c2b-1031-4842-b567-351303c62b15" providerId="AD" clId="Web-{1A9CA3FB-5FD2-A3FA-451A-B97D08145AC1}" dt="2023-11-22T16:07:41.103" v="2"/>
        <pc:sldMkLst>
          <pc:docMk/>
          <pc:sldMk cId="355309695" sldId="2147375419"/>
        </pc:sldMkLst>
      </pc:sldChg>
      <pc:sldChg chg="add">
        <pc:chgData name="Luis Moßburger" userId="S::luis.mossburger@byte.bayern::2a606c2b-1031-4842-b567-351303c62b15" providerId="AD" clId="Web-{1A9CA3FB-5FD2-A3FA-451A-B97D08145AC1}" dt="2023-11-22T16:08:16.212" v="3"/>
        <pc:sldMkLst>
          <pc:docMk/>
          <pc:sldMk cId="3693542138" sldId="2147375420"/>
        </pc:sldMkLst>
      </pc:sldChg>
      <pc:sldChg chg="add">
        <pc:chgData name="Luis Moßburger" userId="S::luis.mossburger@byte.bayern::2a606c2b-1031-4842-b567-351303c62b15" providerId="AD" clId="Web-{1A9CA3FB-5FD2-A3FA-451A-B97D08145AC1}" dt="2023-11-22T16:21:58.351" v="5"/>
        <pc:sldMkLst>
          <pc:docMk/>
          <pc:sldMk cId="1544568979" sldId="2147375421"/>
        </pc:sldMkLst>
      </pc:sldChg>
      <pc:sldMasterChg chg="addSldLayout">
        <pc:chgData name="Luis Moßburger" userId="S::luis.mossburger@byte.bayern::2a606c2b-1031-4842-b567-351303c62b15" providerId="AD" clId="Web-{1A9CA3FB-5FD2-A3FA-451A-B97D08145AC1}" dt="2023-11-22T16:08:16.212" v="3"/>
        <pc:sldMasterMkLst>
          <pc:docMk/>
          <pc:sldMasterMk cId="3689281850" sldId="2147483648"/>
        </pc:sldMasterMkLst>
        <pc:sldLayoutChg chg="add">
          <pc:chgData name="Luis Moßburger" userId="S::luis.mossburger@byte.bayern::2a606c2b-1031-4842-b567-351303c62b15" providerId="AD" clId="Web-{1A9CA3FB-5FD2-A3FA-451A-B97D08145AC1}" dt="2023-11-22T16:08:16.212" v="3"/>
          <pc:sldLayoutMkLst>
            <pc:docMk/>
            <pc:sldMasterMk cId="3689281850" sldId="2147483648"/>
            <pc:sldLayoutMk cId="2486682413" sldId="2147483726"/>
          </pc:sldLayoutMkLst>
        </pc:sldLayoutChg>
      </pc:sldMasterChg>
    </pc:docChg>
  </pc:docChgLst>
  <pc:docChgLst>
    <pc:chgData name="Bianca Sammer" userId="S::bianca.sammer@byte.bayern::f4a63388-78f4-42fc-ad67-f6b998998f6b" providerId="AD" clId="Web-{CD217141-91BA-94BE-1E0B-DB2316C742E3}"/>
    <pc:docChg chg="modSld">
      <pc:chgData name="Bianca Sammer" userId="S::bianca.sammer@byte.bayern::f4a63388-78f4-42fc-ad67-f6b998998f6b" providerId="AD" clId="Web-{CD217141-91BA-94BE-1E0B-DB2316C742E3}" dt="2024-01-08T14:50:52.578" v="65" actId="20577"/>
      <pc:docMkLst>
        <pc:docMk/>
      </pc:docMkLst>
      <pc:sldChg chg="modSp">
        <pc:chgData name="Bianca Sammer" userId="S::bianca.sammer@byte.bayern::f4a63388-78f4-42fc-ad67-f6b998998f6b" providerId="AD" clId="Web-{CD217141-91BA-94BE-1E0B-DB2316C742E3}" dt="2024-01-08T14:45:29.855" v="21" actId="20577"/>
        <pc:sldMkLst>
          <pc:docMk/>
          <pc:sldMk cId="1300533682" sldId="2147375412"/>
        </pc:sldMkLst>
        <pc:spChg chg="mod">
          <ac:chgData name="Bianca Sammer" userId="S::bianca.sammer@byte.bayern::f4a63388-78f4-42fc-ad67-f6b998998f6b" providerId="AD" clId="Web-{CD217141-91BA-94BE-1E0B-DB2316C742E3}" dt="2024-01-08T14:45:29.855" v="21" actId="20577"/>
          <ac:spMkLst>
            <pc:docMk/>
            <pc:sldMk cId="1300533682" sldId="2147375412"/>
            <ac:spMk id="4" creationId="{238C3D29-A1DB-3BE0-C088-2F4CAC92AA4D}"/>
          </ac:spMkLst>
        </pc:spChg>
      </pc:sldChg>
      <pc:sldChg chg="modSp">
        <pc:chgData name="Bianca Sammer" userId="S::bianca.sammer@byte.bayern::f4a63388-78f4-42fc-ad67-f6b998998f6b" providerId="AD" clId="Web-{CD217141-91BA-94BE-1E0B-DB2316C742E3}" dt="2024-01-08T14:46:13.824" v="32" actId="20577"/>
        <pc:sldMkLst>
          <pc:docMk/>
          <pc:sldMk cId="1715779464" sldId="2147375416"/>
        </pc:sldMkLst>
        <pc:spChg chg="mod">
          <ac:chgData name="Bianca Sammer" userId="S::bianca.sammer@byte.bayern::f4a63388-78f4-42fc-ad67-f6b998998f6b" providerId="AD" clId="Web-{CD217141-91BA-94BE-1E0B-DB2316C742E3}" dt="2024-01-08T14:46:13.824" v="32" actId="20577"/>
          <ac:spMkLst>
            <pc:docMk/>
            <pc:sldMk cId="1715779464" sldId="2147375416"/>
            <ac:spMk id="4" creationId="{238C3D29-A1DB-3BE0-C088-2F4CAC92AA4D}"/>
          </ac:spMkLst>
        </pc:spChg>
      </pc:sldChg>
      <pc:sldChg chg="modSp">
        <pc:chgData name="Bianca Sammer" userId="S::bianca.sammer@byte.bayern::f4a63388-78f4-42fc-ad67-f6b998998f6b" providerId="AD" clId="Web-{CD217141-91BA-94BE-1E0B-DB2316C742E3}" dt="2024-01-08T14:50:52.578" v="65" actId="20577"/>
        <pc:sldMkLst>
          <pc:docMk/>
          <pc:sldMk cId="364104577" sldId="2147375417"/>
        </pc:sldMkLst>
        <pc:spChg chg="mod">
          <ac:chgData name="Bianca Sammer" userId="S::bianca.sammer@byte.bayern::f4a63388-78f4-42fc-ad67-f6b998998f6b" providerId="AD" clId="Web-{CD217141-91BA-94BE-1E0B-DB2316C742E3}" dt="2024-01-08T14:50:52.578" v="65" actId="20577"/>
          <ac:spMkLst>
            <pc:docMk/>
            <pc:sldMk cId="364104577" sldId="2147375417"/>
            <ac:spMk id="4" creationId="{238C3D29-A1DB-3BE0-C088-2F4CAC92AA4D}"/>
          </ac:spMkLst>
        </pc:spChg>
      </pc:sldChg>
      <pc:sldChg chg="modSp">
        <pc:chgData name="Bianca Sammer" userId="S::bianca.sammer@byte.bayern::f4a63388-78f4-42fc-ad67-f6b998998f6b" providerId="AD" clId="Web-{CD217141-91BA-94BE-1E0B-DB2316C742E3}" dt="2024-01-08T14:50:43.562" v="62" actId="20577"/>
        <pc:sldMkLst>
          <pc:docMk/>
          <pc:sldMk cId="1860187013" sldId="2147375418"/>
        </pc:sldMkLst>
        <pc:spChg chg="mod">
          <ac:chgData name="Bianca Sammer" userId="S::bianca.sammer@byte.bayern::f4a63388-78f4-42fc-ad67-f6b998998f6b" providerId="AD" clId="Web-{CD217141-91BA-94BE-1E0B-DB2316C742E3}" dt="2024-01-08T14:50:43.562" v="62" actId="20577"/>
          <ac:spMkLst>
            <pc:docMk/>
            <pc:sldMk cId="1860187013" sldId="2147375418"/>
            <ac:spMk id="4" creationId="{238C3D29-A1DB-3BE0-C088-2F4CAC92AA4D}"/>
          </ac:spMkLst>
        </pc:spChg>
      </pc:sldChg>
      <pc:sldChg chg="modSp">
        <pc:chgData name="Bianca Sammer" userId="S::bianca.sammer@byte.bayern::f4a63388-78f4-42fc-ad67-f6b998998f6b" providerId="AD" clId="Web-{CD217141-91BA-94BE-1E0B-DB2316C742E3}" dt="2024-01-08T14:48:43.014" v="52" actId="20577"/>
        <pc:sldMkLst>
          <pc:docMk/>
          <pc:sldMk cId="355309695" sldId="2147375419"/>
        </pc:sldMkLst>
        <pc:spChg chg="mod">
          <ac:chgData name="Bianca Sammer" userId="S::bianca.sammer@byte.bayern::f4a63388-78f4-42fc-ad67-f6b998998f6b" providerId="AD" clId="Web-{CD217141-91BA-94BE-1E0B-DB2316C742E3}" dt="2024-01-08T14:48:43.014" v="52" actId="20577"/>
          <ac:spMkLst>
            <pc:docMk/>
            <pc:sldMk cId="355309695" sldId="2147375419"/>
            <ac:spMk id="4" creationId="{238C3D29-A1DB-3BE0-C088-2F4CAC92AA4D}"/>
          </ac:spMkLst>
        </pc:spChg>
      </pc:sldChg>
    </pc:docChg>
  </pc:docChgLst>
  <pc:docChgLst>
    <pc:chgData name="Luis Moßburger" userId="S::luis.mossburger@byte.bayern::2a606c2b-1031-4842-b567-351303c62b15" providerId="AD" clId="Web-{4FEF457F-A57C-D248-2D02-902E9948B011}"/>
    <pc:docChg chg="modSld">
      <pc:chgData name="Luis Moßburger" userId="S::luis.mossburger@byte.bayern::2a606c2b-1031-4842-b567-351303c62b15" providerId="AD" clId="Web-{4FEF457F-A57C-D248-2D02-902E9948B011}" dt="2023-11-09T18:27:52.216" v="12" actId="20577"/>
      <pc:docMkLst>
        <pc:docMk/>
      </pc:docMkLst>
      <pc:sldChg chg="modSp">
        <pc:chgData name="Luis Moßburger" userId="S::luis.mossburger@byte.bayern::2a606c2b-1031-4842-b567-351303c62b15" providerId="AD" clId="Web-{4FEF457F-A57C-D248-2D02-902E9948B011}" dt="2023-11-09T18:27:52.216" v="12" actId="20577"/>
        <pc:sldMkLst>
          <pc:docMk/>
          <pc:sldMk cId="2778957091" sldId="2147375388"/>
        </pc:sldMkLst>
        <pc:spChg chg="mod">
          <ac:chgData name="Luis Moßburger" userId="S::luis.mossburger@byte.bayern::2a606c2b-1031-4842-b567-351303c62b15" providerId="AD" clId="Web-{4FEF457F-A57C-D248-2D02-902E9948B011}" dt="2023-11-09T18:27:52.216" v="12" actId="20577"/>
          <ac:spMkLst>
            <pc:docMk/>
            <pc:sldMk cId="2778957091" sldId="2147375388"/>
            <ac:spMk id="4" creationId="{0BAD73DB-F93B-C53B-9219-E3E1CCE59372}"/>
          </ac:spMkLst>
        </pc:spChg>
      </pc:sldChg>
      <pc:sldChg chg="modSp">
        <pc:chgData name="Luis Moßburger" userId="S::luis.mossburger@byte.bayern::2a606c2b-1031-4842-b567-351303c62b15" providerId="AD" clId="Web-{4FEF457F-A57C-D248-2D02-902E9948B011}" dt="2023-11-09T18:19:05.957" v="9" actId="20577"/>
        <pc:sldMkLst>
          <pc:docMk/>
          <pc:sldMk cId="1955307389" sldId="2147375390"/>
        </pc:sldMkLst>
        <pc:spChg chg="mod">
          <ac:chgData name="Luis Moßburger" userId="S::luis.mossburger@byte.bayern::2a606c2b-1031-4842-b567-351303c62b15" providerId="AD" clId="Web-{4FEF457F-A57C-D248-2D02-902E9948B011}" dt="2023-11-09T18:19:05.957" v="9" actId="20577"/>
          <ac:spMkLst>
            <pc:docMk/>
            <pc:sldMk cId="1955307389" sldId="2147375390"/>
            <ac:spMk id="2" creationId="{A9C3D6A4-13F0-8728-A927-8F111698188F}"/>
          </ac:spMkLst>
        </pc:spChg>
      </pc:sldChg>
      <pc:sldChg chg="modSp">
        <pc:chgData name="Luis Moßburger" userId="S::luis.mossburger@byte.bayern::2a606c2b-1031-4842-b567-351303c62b15" providerId="AD" clId="Web-{4FEF457F-A57C-D248-2D02-902E9948B011}" dt="2023-11-09T17:27:06.711" v="1"/>
        <pc:sldMkLst>
          <pc:docMk/>
          <pc:sldMk cId="1870288399" sldId="2147375403"/>
        </pc:sldMkLst>
        <pc:picChg chg="mod modCrop">
          <ac:chgData name="Luis Moßburger" userId="S::luis.mossburger@byte.bayern::2a606c2b-1031-4842-b567-351303c62b15" providerId="AD" clId="Web-{4FEF457F-A57C-D248-2D02-902E9948B011}" dt="2023-11-09T17:27:06.711" v="1"/>
          <ac:picMkLst>
            <pc:docMk/>
            <pc:sldMk cId="1870288399" sldId="2147375403"/>
            <ac:picMk id="8" creationId="{9C72B6E6-1518-4C3A-24B0-B4712B921977}"/>
          </ac:picMkLst>
        </pc:picChg>
      </pc:sldChg>
    </pc:docChg>
  </pc:docChgLst>
  <pc:docChgLst>
    <pc:chgData name="Petra Oelfke" userId="S::petra.oelfke@byte.bayern::530454f5-7791-4a48-a1df-32207e7ce444" providerId="AD" clId="Web-{0CBBE7AE-7771-C563-46DE-73F0B0CCE984}"/>
    <pc:docChg chg="modSld">
      <pc:chgData name="Petra Oelfke" userId="S::petra.oelfke@byte.bayern::530454f5-7791-4a48-a1df-32207e7ce444" providerId="AD" clId="Web-{0CBBE7AE-7771-C563-46DE-73F0B0CCE984}" dt="2024-01-03T07:43:27.476" v="2" actId="20577"/>
      <pc:docMkLst>
        <pc:docMk/>
      </pc:docMkLst>
      <pc:sldChg chg="modSp">
        <pc:chgData name="Petra Oelfke" userId="S::petra.oelfke@byte.bayern::530454f5-7791-4a48-a1df-32207e7ce444" providerId="AD" clId="Web-{0CBBE7AE-7771-C563-46DE-73F0B0CCE984}" dt="2024-01-03T07:43:27.476" v="2" actId="20577"/>
        <pc:sldMkLst>
          <pc:docMk/>
          <pc:sldMk cId="1300533682" sldId="2147375412"/>
        </pc:sldMkLst>
        <pc:spChg chg="mod">
          <ac:chgData name="Petra Oelfke" userId="S::petra.oelfke@byte.bayern::530454f5-7791-4a48-a1df-32207e7ce444" providerId="AD" clId="Web-{0CBBE7AE-7771-C563-46DE-73F0B0CCE984}" dt="2024-01-03T07:43:27.476" v="2" actId="20577"/>
          <ac:spMkLst>
            <pc:docMk/>
            <pc:sldMk cId="1300533682" sldId="2147375412"/>
            <ac:spMk id="4" creationId="{238C3D29-A1DB-3BE0-C088-2F4CAC92AA4D}"/>
          </ac:spMkLst>
        </pc:spChg>
      </pc:sldChg>
    </pc:docChg>
  </pc:docChgLst>
  <pc:docChgLst>
    <pc:chgData name="Luis Moßburger" userId="S::luis.mossburger@byte.bayern::2a606c2b-1031-4842-b567-351303c62b15" providerId="AD" clId="Web-{BF28C859-29A4-2708-11BE-36AE67C78115}"/>
    <pc:docChg chg="addSld delSld modSld modSection">
      <pc:chgData name="Luis Moßburger" userId="S::luis.mossburger@byte.bayern::2a606c2b-1031-4842-b567-351303c62b15" providerId="AD" clId="Web-{BF28C859-29A4-2708-11BE-36AE67C78115}" dt="2023-11-13T12:08:15.667" v="73" actId="20577"/>
      <pc:docMkLst>
        <pc:docMk/>
      </pc:docMkLst>
      <pc:sldChg chg="del">
        <pc:chgData name="Luis Moßburger" userId="S::luis.mossburger@byte.bayern::2a606c2b-1031-4842-b567-351303c62b15" providerId="AD" clId="Web-{BF28C859-29A4-2708-11BE-36AE67C78115}" dt="2023-11-13T12:05:42.667" v="27"/>
        <pc:sldMkLst>
          <pc:docMk/>
          <pc:sldMk cId="4039138997" sldId="2147375385"/>
        </pc:sldMkLst>
      </pc:sldChg>
      <pc:sldChg chg="del">
        <pc:chgData name="Luis Moßburger" userId="S::luis.mossburger@byte.bayern::2a606c2b-1031-4842-b567-351303c62b15" providerId="AD" clId="Web-{BF28C859-29A4-2708-11BE-36AE67C78115}" dt="2023-11-13T12:06:30.448" v="37"/>
        <pc:sldMkLst>
          <pc:docMk/>
          <pc:sldMk cId="3410771101" sldId="2147375386"/>
        </pc:sldMkLst>
      </pc:sldChg>
      <pc:sldChg chg="del">
        <pc:chgData name="Luis Moßburger" userId="S::luis.mossburger@byte.bayern::2a606c2b-1031-4842-b567-351303c62b15" providerId="AD" clId="Web-{BF28C859-29A4-2708-11BE-36AE67C78115}" dt="2023-11-13T12:07:08.652" v="47"/>
        <pc:sldMkLst>
          <pc:docMk/>
          <pc:sldMk cId="1428234475" sldId="2147375387"/>
        </pc:sldMkLst>
      </pc:sldChg>
      <pc:sldChg chg="del">
        <pc:chgData name="Luis Moßburger" userId="S::luis.mossburger@byte.bayern::2a606c2b-1031-4842-b567-351303c62b15" providerId="AD" clId="Web-{BF28C859-29A4-2708-11BE-36AE67C78115}" dt="2023-11-13T12:07:59.292" v="61"/>
        <pc:sldMkLst>
          <pc:docMk/>
          <pc:sldMk cId="2778957091" sldId="2147375388"/>
        </pc:sldMkLst>
      </pc:sldChg>
      <pc:sldChg chg="new del">
        <pc:chgData name="Luis Moßburger" userId="S::luis.mossburger@byte.bayern::2a606c2b-1031-4842-b567-351303c62b15" providerId="AD" clId="Web-{BF28C859-29A4-2708-11BE-36AE67C78115}" dt="2023-11-13T12:04:05.230" v="2"/>
        <pc:sldMkLst>
          <pc:docMk/>
          <pc:sldMk cId="1352353137" sldId="2147375411"/>
        </pc:sldMkLst>
      </pc:sldChg>
      <pc:sldChg chg="addSp delSp modSp new">
        <pc:chgData name="Luis Moßburger" userId="S::luis.mossburger@byte.bayern::2a606c2b-1031-4842-b567-351303c62b15" providerId="AD" clId="Web-{BF28C859-29A4-2708-11BE-36AE67C78115}" dt="2023-11-13T12:07:54.183" v="60"/>
        <pc:sldMkLst>
          <pc:docMk/>
          <pc:sldMk cId="1300533682" sldId="2147375412"/>
        </pc:sldMkLst>
        <pc:spChg chg="mod">
          <ac:chgData name="Luis Moßburger" userId="S::luis.mossburger@byte.bayern::2a606c2b-1031-4842-b567-351303c62b15" providerId="AD" clId="Web-{BF28C859-29A4-2708-11BE-36AE67C78115}" dt="2023-11-13T12:07:24.339" v="50" actId="20577"/>
          <ac:spMkLst>
            <pc:docMk/>
            <pc:sldMk cId="1300533682" sldId="2147375412"/>
            <ac:spMk id="4" creationId="{238C3D29-A1DB-3BE0-C088-2F4CAC92AA4D}"/>
          </ac:spMkLst>
        </pc:spChg>
        <pc:spChg chg="mod">
          <ac:chgData name="Luis Moßburger" userId="S::luis.mossburger@byte.bayern::2a606c2b-1031-4842-b567-351303c62b15" providerId="AD" clId="Web-{BF28C859-29A4-2708-11BE-36AE67C78115}" dt="2023-11-13T12:07:31.152" v="54" actId="20577"/>
          <ac:spMkLst>
            <pc:docMk/>
            <pc:sldMk cId="1300533682" sldId="2147375412"/>
            <ac:spMk id="5" creationId="{079C4434-0496-53DB-0A7D-89E502F81B8E}"/>
          </ac:spMkLst>
        </pc:spChg>
        <pc:picChg chg="add del">
          <ac:chgData name="Luis Moßburger" userId="S::luis.mossburger@byte.bayern::2a606c2b-1031-4842-b567-351303c62b15" providerId="AD" clId="Web-{BF28C859-29A4-2708-11BE-36AE67C78115}" dt="2023-11-13T12:04:11.105" v="4"/>
          <ac:picMkLst>
            <pc:docMk/>
            <pc:sldMk cId="1300533682" sldId="2147375412"/>
            <ac:picMk id="8" creationId="{06B0AB5F-4D76-69F9-6390-CE892D368C05}"/>
          </ac:picMkLst>
        </pc:picChg>
        <pc:picChg chg="add del">
          <ac:chgData name="Luis Moßburger" userId="S::luis.mossburger@byte.bayern::2a606c2b-1031-4842-b567-351303c62b15" providerId="AD" clId="Web-{BF28C859-29A4-2708-11BE-36AE67C78115}" dt="2023-11-13T12:04:16.542" v="6"/>
          <ac:picMkLst>
            <pc:docMk/>
            <pc:sldMk cId="1300533682" sldId="2147375412"/>
            <ac:picMk id="10" creationId="{B834F485-0207-2CDB-AA8D-602DF1CF0A0B}"/>
          </ac:picMkLst>
        </pc:picChg>
        <pc:picChg chg="add del">
          <ac:chgData name="Luis Moßburger" userId="S::luis.mossburger@byte.bayern::2a606c2b-1031-4842-b567-351303c62b15" providerId="AD" clId="Web-{BF28C859-29A4-2708-11BE-36AE67C78115}" dt="2023-11-13T12:04:26.027" v="8"/>
          <ac:picMkLst>
            <pc:docMk/>
            <pc:sldMk cId="1300533682" sldId="2147375412"/>
            <ac:picMk id="12" creationId="{E83196E2-00E1-A7C4-AA8F-28DC7A33BBEF}"/>
          </ac:picMkLst>
        </pc:picChg>
        <pc:picChg chg="add del">
          <ac:chgData name="Luis Moßburger" userId="S::luis.mossburger@byte.bayern::2a606c2b-1031-4842-b567-351303c62b15" providerId="AD" clId="Web-{BF28C859-29A4-2708-11BE-36AE67C78115}" dt="2023-11-13T12:04:30.136" v="10"/>
          <ac:picMkLst>
            <pc:docMk/>
            <pc:sldMk cId="1300533682" sldId="2147375412"/>
            <ac:picMk id="14" creationId="{174846E7-7754-992C-17B7-38D98BEA9EBC}"/>
          </ac:picMkLst>
        </pc:picChg>
        <pc:picChg chg="add del mod">
          <ac:chgData name="Luis Moßburger" userId="S::luis.mossburger@byte.bayern::2a606c2b-1031-4842-b567-351303c62b15" providerId="AD" clId="Web-{BF28C859-29A4-2708-11BE-36AE67C78115}" dt="2023-11-13T12:04:49.214" v="14"/>
          <ac:picMkLst>
            <pc:docMk/>
            <pc:sldMk cId="1300533682" sldId="2147375412"/>
            <ac:picMk id="16" creationId="{3DC7A8A7-34E6-844F-B368-7492DD2986E5}"/>
          </ac:picMkLst>
        </pc:picChg>
        <pc:picChg chg="add del mod modCrop">
          <ac:chgData name="Luis Moßburger" userId="S::luis.mossburger@byte.bayern::2a606c2b-1031-4842-b567-351303c62b15" providerId="AD" clId="Web-{BF28C859-29A4-2708-11BE-36AE67C78115}" dt="2023-11-13T12:07:38.823" v="55"/>
          <ac:picMkLst>
            <pc:docMk/>
            <pc:sldMk cId="1300533682" sldId="2147375412"/>
            <ac:picMk id="18" creationId="{1D5D4013-DF1C-584A-B879-8307DF4E9174}"/>
          </ac:picMkLst>
        </pc:picChg>
        <pc:picChg chg="add mod modCrop">
          <ac:chgData name="Luis Moßburger" userId="S::luis.mossburger@byte.bayern::2a606c2b-1031-4842-b567-351303c62b15" providerId="AD" clId="Web-{BF28C859-29A4-2708-11BE-36AE67C78115}" dt="2023-11-13T12:07:54.183" v="60"/>
          <ac:picMkLst>
            <pc:docMk/>
            <pc:sldMk cId="1300533682" sldId="2147375412"/>
            <ac:picMk id="20" creationId="{3DEA036A-232B-2C8F-CF4E-F3B7C065EB52}"/>
          </ac:picMkLst>
        </pc:picChg>
      </pc:sldChg>
      <pc:sldChg chg="addSp delSp modSp add">
        <pc:chgData name="Luis Moßburger" userId="S::luis.mossburger@byte.bayern::2a606c2b-1031-4842-b567-351303c62b15" providerId="AD" clId="Web-{BF28C859-29A4-2708-11BE-36AE67C78115}" dt="2023-11-13T12:08:04.433" v="63" actId="20577"/>
        <pc:sldMkLst>
          <pc:docMk/>
          <pc:sldMk cId="2203623336" sldId="2147375413"/>
        </pc:sldMkLst>
        <pc:spChg chg="mod">
          <ac:chgData name="Luis Moßburger" userId="S::luis.mossburger@byte.bayern::2a606c2b-1031-4842-b567-351303c62b15" providerId="AD" clId="Web-{BF28C859-29A4-2708-11BE-36AE67C78115}" dt="2023-11-13T12:06:07.292" v="30" actId="20577"/>
          <ac:spMkLst>
            <pc:docMk/>
            <pc:sldMk cId="2203623336" sldId="2147375413"/>
            <ac:spMk id="4" creationId="{238C3D29-A1DB-3BE0-C088-2F4CAC92AA4D}"/>
          </ac:spMkLst>
        </pc:spChg>
        <pc:spChg chg="mod">
          <ac:chgData name="Luis Moßburger" userId="S::luis.mossburger@byte.bayern::2a606c2b-1031-4842-b567-351303c62b15" providerId="AD" clId="Web-{BF28C859-29A4-2708-11BE-36AE67C78115}" dt="2023-11-13T12:08:04.433" v="63" actId="20577"/>
          <ac:spMkLst>
            <pc:docMk/>
            <pc:sldMk cId="2203623336" sldId="2147375413"/>
            <ac:spMk id="5" creationId="{079C4434-0496-53DB-0A7D-89E502F81B8E}"/>
          </ac:spMkLst>
        </pc:spChg>
        <pc:picChg chg="add mod modCrop">
          <ac:chgData name="Luis Moßburger" userId="S::luis.mossburger@byte.bayern::2a606c2b-1031-4842-b567-351303c62b15" providerId="AD" clId="Web-{BF28C859-29A4-2708-11BE-36AE67C78115}" dt="2023-11-13T12:06:27.605" v="36"/>
          <ac:picMkLst>
            <pc:docMk/>
            <pc:sldMk cId="2203623336" sldId="2147375413"/>
            <ac:picMk id="8" creationId="{D290B45F-5625-53F9-9D44-93F8D61097A1}"/>
          </ac:picMkLst>
        </pc:picChg>
        <pc:picChg chg="del">
          <ac:chgData name="Luis Moßburger" userId="S::luis.mossburger@byte.bayern::2a606c2b-1031-4842-b567-351303c62b15" providerId="AD" clId="Web-{BF28C859-29A4-2708-11BE-36AE67C78115}" dt="2023-11-13T12:06:11.902" v="31"/>
          <ac:picMkLst>
            <pc:docMk/>
            <pc:sldMk cId="2203623336" sldId="2147375413"/>
            <ac:picMk id="18" creationId="{1D5D4013-DF1C-584A-B879-8307DF4E9174}"/>
          </ac:picMkLst>
        </pc:picChg>
      </pc:sldChg>
      <pc:sldChg chg="addSp delSp modSp add">
        <pc:chgData name="Luis Moßburger" userId="S::luis.mossburger@byte.bayern::2a606c2b-1031-4842-b567-351303c62b15" providerId="AD" clId="Web-{BF28C859-29A4-2708-11BE-36AE67C78115}" dt="2023-11-13T12:08:15.667" v="73" actId="20577"/>
        <pc:sldMkLst>
          <pc:docMk/>
          <pc:sldMk cId="30963205" sldId="2147375414"/>
        </pc:sldMkLst>
        <pc:spChg chg="mod">
          <ac:chgData name="Luis Moßburger" userId="S::luis.mossburger@byte.bayern::2a606c2b-1031-4842-b567-351303c62b15" providerId="AD" clId="Web-{BF28C859-29A4-2708-11BE-36AE67C78115}" dt="2023-11-13T12:06:42.402" v="40" actId="20577"/>
          <ac:spMkLst>
            <pc:docMk/>
            <pc:sldMk cId="30963205" sldId="2147375414"/>
            <ac:spMk id="4" creationId="{238C3D29-A1DB-3BE0-C088-2F4CAC92AA4D}"/>
          </ac:spMkLst>
        </pc:spChg>
        <pc:spChg chg="mod">
          <ac:chgData name="Luis Moßburger" userId="S::luis.mossburger@byte.bayern::2a606c2b-1031-4842-b567-351303c62b15" providerId="AD" clId="Web-{BF28C859-29A4-2708-11BE-36AE67C78115}" dt="2023-11-13T12:08:15.667" v="73" actId="20577"/>
          <ac:spMkLst>
            <pc:docMk/>
            <pc:sldMk cId="30963205" sldId="2147375414"/>
            <ac:spMk id="5" creationId="{079C4434-0496-53DB-0A7D-89E502F81B8E}"/>
          </ac:spMkLst>
        </pc:spChg>
        <pc:picChg chg="del">
          <ac:chgData name="Luis Moßburger" userId="S::luis.mossburger@byte.bayern::2a606c2b-1031-4842-b567-351303c62b15" providerId="AD" clId="Web-{BF28C859-29A4-2708-11BE-36AE67C78115}" dt="2023-11-13T12:06:44.558" v="41"/>
          <ac:picMkLst>
            <pc:docMk/>
            <pc:sldMk cId="30963205" sldId="2147375414"/>
            <ac:picMk id="8" creationId="{D290B45F-5625-53F9-9D44-93F8D61097A1}"/>
          </ac:picMkLst>
        </pc:picChg>
        <pc:picChg chg="add mod modCrop">
          <ac:chgData name="Luis Moßburger" userId="S::luis.mossburger@byte.bayern::2a606c2b-1031-4842-b567-351303c62b15" providerId="AD" clId="Web-{BF28C859-29A4-2708-11BE-36AE67C78115}" dt="2023-11-13T12:07:04.198" v="46"/>
          <ac:picMkLst>
            <pc:docMk/>
            <pc:sldMk cId="30963205" sldId="2147375414"/>
            <ac:picMk id="9" creationId="{105C3F8A-C491-068E-03D2-362BA34C6344}"/>
          </ac:picMkLst>
        </pc:picChg>
      </pc:sldChg>
      <pc:sldChg chg="add">
        <pc:chgData name="Luis Moßburger" userId="S::luis.mossburger@byte.bayern::2a606c2b-1031-4842-b567-351303c62b15" providerId="AD" clId="Web-{BF28C859-29A4-2708-11BE-36AE67C78115}" dt="2023-11-13T12:07:12.808" v="48"/>
        <pc:sldMkLst>
          <pc:docMk/>
          <pc:sldMk cId="3020728369" sldId="2147375415"/>
        </pc:sldMkLst>
      </pc:sldChg>
    </pc:docChg>
  </pc:docChgLst>
  <pc:docChgLst>
    <pc:chgData name="Eva Perwanger" userId="c5d74277-f628-4fea-b020-43e76aa53852" providerId="ADAL" clId="{954A8FF2-F465-FC48-9CC4-B9493E8C776D}"/>
    <pc:docChg chg="modSld">
      <pc:chgData name="Eva Perwanger" userId="c5d74277-f628-4fea-b020-43e76aa53852" providerId="ADAL" clId="{954A8FF2-F465-FC48-9CC4-B9493E8C776D}" dt="2023-10-17T06:41:12.421" v="2"/>
      <pc:docMkLst>
        <pc:docMk/>
      </pc:docMkLst>
      <pc:sldChg chg="addSp delSp modSp mod">
        <pc:chgData name="Eva Perwanger" userId="c5d74277-f628-4fea-b020-43e76aa53852" providerId="ADAL" clId="{954A8FF2-F465-FC48-9CC4-B9493E8C776D}" dt="2023-10-17T06:41:12.421" v="2"/>
        <pc:sldMkLst>
          <pc:docMk/>
          <pc:sldMk cId="3272669451" sldId="2147375322"/>
        </pc:sldMkLst>
        <pc:spChg chg="add del mod">
          <ac:chgData name="Eva Perwanger" userId="c5d74277-f628-4fea-b020-43e76aa53852" providerId="ADAL" clId="{954A8FF2-F465-FC48-9CC4-B9493E8C776D}" dt="2023-10-17T06:41:12.421" v="2"/>
          <ac:spMkLst>
            <pc:docMk/>
            <pc:sldMk cId="3272669451" sldId="2147375322"/>
            <ac:spMk id="4" creationId="{7C2D4F74-4AA5-4CE3-C6BB-408F08E90A1D}"/>
          </ac:spMkLst>
        </pc:spChg>
      </pc:sldChg>
    </pc:docChg>
  </pc:docChgLst>
  <pc:docChgLst>
    <pc:chgData name="Luis Moßburger" userId="S::luis.mossburger@byte.bayern::2a606c2b-1031-4842-b567-351303c62b15" providerId="AD" clId="Web-{70D4D9C8-4AA9-3C10-F56A-FCF10FC8EBAB}"/>
    <pc:docChg chg="modSld">
      <pc:chgData name="Luis Moßburger" userId="S::luis.mossburger@byte.bayern::2a606c2b-1031-4842-b567-351303c62b15" providerId="AD" clId="Web-{70D4D9C8-4AA9-3C10-F56A-FCF10FC8EBAB}" dt="2023-11-09T17:24:49.155" v="8"/>
      <pc:docMkLst>
        <pc:docMk/>
      </pc:docMkLst>
      <pc:sldChg chg="modNotes">
        <pc:chgData name="Luis Moßburger" userId="S::luis.mossburger@byte.bayern::2a606c2b-1031-4842-b567-351303c62b15" providerId="AD" clId="Web-{70D4D9C8-4AA9-3C10-F56A-FCF10FC8EBAB}" dt="2023-11-09T17:24:45.623" v="7"/>
        <pc:sldMkLst>
          <pc:docMk/>
          <pc:sldMk cId="408761079" sldId="2147375351"/>
        </pc:sldMkLst>
      </pc:sldChg>
      <pc:sldChg chg="modNotes">
        <pc:chgData name="Luis Moßburger" userId="S::luis.mossburger@byte.bayern::2a606c2b-1031-4842-b567-351303c62b15" providerId="AD" clId="Web-{70D4D9C8-4AA9-3C10-F56A-FCF10FC8EBAB}" dt="2023-11-09T17:24:23.967" v="2"/>
        <pc:sldMkLst>
          <pc:docMk/>
          <pc:sldMk cId="4067000183" sldId="2147375353"/>
        </pc:sldMkLst>
      </pc:sldChg>
      <pc:sldChg chg="modNotes">
        <pc:chgData name="Luis Moßburger" userId="S::luis.mossburger@byte.bayern::2a606c2b-1031-4842-b567-351303c62b15" providerId="AD" clId="Web-{70D4D9C8-4AA9-3C10-F56A-FCF10FC8EBAB}" dt="2023-11-09T17:24:33.811" v="5"/>
        <pc:sldMkLst>
          <pc:docMk/>
          <pc:sldMk cId="1520257580" sldId="2147375393"/>
        </pc:sldMkLst>
      </pc:sldChg>
      <pc:sldChg chg="modNotes">
        <pc:chgData name="Luis Moßburger" userId="S::luis.mossburger@byte.bayern::2a606c2b-1031-4842-b567-351303c62b15" providerId="AD" clId="Web-{70D4D9C8-4AA9-3C10-F56A-FCF10FC8EBAB}" dt="2023-11-09T17:24:37.483" v="6"/>
        <pc:sldMkLst>
          <pc:docMk/>
          <pc:sldMk cId="4139311399" sldId="2147375396"/>
        </pc:sldMkLst>
      </pc:sldChg>
      <pc:sldChg chg="modNotes">
        <pc:chgData name="Luis Moßburger" userId="S::luis.mossburger@byte.bayern::2a606c2b-1031-4842-b567-351303c62b15" providerId="AD" clId="Web-{70D4D9C8-4AA9-3C10-F56A-FCF10FC8EBAB}" dt="2023-11-09T17:24:33.358" v="4"/>
        <pc:sldMkLst>
          <pc:docMk/>
          <pc:sldMk cId="2862999593" sldId="2147375397"/>
        </pc:sldMkLst>
      </pc:sldChg>
      <pc:sldChg chg="modNotes">
        <pc:chgData name="Luis Moßburger" userId="S::luis.mossburger@byte.bayern::2a606c2b-1031-4842-b567-351303c62b15" providerId="AD" clId="Web-{70D4D9C8-4AA9-3C10-F56A-FCF10FC8EBAB}" dt="2023-11-09T17:24:27.826" v="3"/>
        <pc:sldMkLst>
          <pc:docMk/>
          <pc:sldMk cId="4015617848" sldId="2147375398"/>
        </pc:sldMkLst>
      </pc:sldChg>
      <pc:sldChg chg="modSp">
        <pc:chgData name="Luis Moßburger" userId="S::luis.mossburger@byte.bayern::2a606c2b-1031-4842-b567-351303c62b15" providerId="AD" clId="Web-{70D4D9C8-4AA9-3C10-F56A-FCF10FC8EBAB}" dt="2023-11-09T16:39:53.037" v="1" actId="20577"/>
        <pc:sldMkLst>
          <pc:docMk/>
          <pc:sldMk cId="3431314746" sldId="2147375405"/>
        </pc:sldMkLst>
        <pc:spChg chg="mod">
          <ac:chgData name="Luis Moßburger" userId="S::luis.mossburger@byte.bayern::2a606c2b-1031-4842-b567-351303c62b15" providerId="AD" clId="Web-{70D4D9C8-4AA9-3C10-F56A-FCF10FC8EBAB}" dt="2023-11-09T16:39:53.037" v="1" actId="20577"/>
          <ac:spMkLst>
            <pc:docMk/>
            <pc:sldMk cId="3431314746" sldId="2147375405"/>
            <ac:spMk id="11" creationId="{B47C9A17-5EAF-5E57-5E76-9FD1C210632E}"/>
          </ac:spMkLst>
        </pc:spChg>
      </pc:sldChg>
      <pc:sldChg chg="modNotes">
        <pc:chgData name="Luis Moßburger" userId="S::luis.mossburger@byte.bayern::2a606c2b-1031-4842-b567-351303c62b15" providerId="AD" clId="Web-{70D4D9C8-4AA9-3C10-F56A-FCF10FC8EBAB}" dt="2023-11-09T17:24:49.155" v="8"/>
        <pc:sldMkLst>
          <pc:docMk/>
          <pc:sldMk cId="1484527794" sldId="2147375406"/>
        </pc:sldMkLst>
      </pc:sldChg>
    </pc:docChg>
  </pc:docChgLst>
  <pc:docChgLst>
    <pc:chgData name="Luis Moßburger" userId="S::luis.mossburger@byte.bayern::2a606c2b-1031-4842-b567-351303c62b15" providerId="AD" clId="Web-{52498A76-0664-87EA-24BC-542655C5457B}"/>
    <pc:docChg chg="modSld">
      <pc:chgData name="Luis Moßburger" userId="S::luis.mossburger@byte.bayern::2a606c2b-1031-4842-b567-351303c62b15" providerId="AD" clId="Web-{52498A76-0664-87EA-24BC-542655C5457B}" dt="2023-11-24T07:56:35.380" v="3" actId="20577"/>
      <pc:docMkLst>
        <pc:docMk/>
      </pc:docMkLst>
      <pc:sldChg chg="modSp">
        <pc:chgData name="Luis Moßburger" userId="S::luis.mossburger@byte.bayern::2a606c2b-1031-4842-b567-351303c62b15" providerId="AD" clId="Web-{52498A76-0664-87EA-24BC-542655C5457B}" dt="2023-11-24T07:56:35.380" v="3" actId="20577"/>
        <pc:sldMkLst>
          <pc:docMk/>
          <pc:sldMk cId="3431314746" sldId="2147375405"/>
        </pc:sldMkLst>
        <pc:spChg chg="mod">
          <ac:chgData name="Luis Moßburger" userId="S::luis.mossburger@byte.bayern::2a606c2b-1031-4842-b567-351303c62b15" providerId="AD" clId="Web-{52498A76-0664-87EA-24BC-542655C5457B}" dt="2023-11-24T07:56:35.380" v="3" actId="20577"/>
          <ac:spMkLst>
            <pc:docMk/>
            <pc:sldMk cId="3431314746" sldId="2147375405"/>
            <ac:spMk id="12" creationId="{C9B2061A-737E-740F-95A7-75938FE55DB4}"/>
          </ac:spMkLst>
        </pc:spChg>
      </pc:sldChg>
    </pc:docChg>
  </pc:docChgLst>
  <pc:docChgLst>
    <pc:chgData name="Luis Moßburger" userId="S::luis.mossburger@byte.bayern::2a606c2b-1031-4842-b567-351303c62b15" providerId="AD" clId="Web-{46394A99-6B5A-D084-6BBB-81C20FE0D814}"/>
    <pc:docChg chg="modSld">
      <pc:chgData name="Luis Moßburger" userId="S::luis.mossburger@byte.bayern::2a606c2b-1031-4842-b567-351303c62b15" providerId="AD" clId="Web-{46394A99-6B5A-D084-6BBB-81C20FE0D814}" dt="2024-01-04T07:04:40.187" v="1"/>
      <pc:docMkLst>
        <pc:docMk/>
      </pc:docMkLst>
      <pc:sldChg chg="addSp modSp">
        <pc:chgData name="Luis Moßburger" userId="S::luis.mossburger@byte.bayern::2a606c2b-1031-4842-b567-351303c62b15" providerId="AD" clId="Web-{46394A99-6B5A-D084-6BBB-81C20FE0D814}" dt="2024-01-04T07:04:40.187" v="1"/>
        <pc:sldMkLst>
          <pc:docMk/>
          <pc:sldMk cId="3841652053" sldId="334"/>
        </pc:sldMkLst>
        <pc:picChg chg="add mod">
          <ac:chgData name="Luis Moßburger" userId="S::luis.mossburger@byte.bayern::2a606c2b-1031-4842-b567-351303c62b15" providerId="AD" clId="Web-{46394A99-6B5A-D084-6BBB-81C20FE0D814}" dt="2024-01-04T07:04:40.187" v="1"/>
          <ac:picMkLst>
            <pc:docMk/>
            <pc:sldMk cId="3841652053" sldId="334"/>
            <ac:picMk id="8" creationId="{AE6BB5AE-FF74-FA81-495D-44B715E509DF}"/>
          </ac:picMkLst>
        </pc:picChg>
      </pc:sldChg>
    </pc:docChg>
  </pc:docChgLst>
  <pc:docChgLst>
    <pc:chgData name="Luis Moßburger" userId="S::luis.mossburger@byte.bayern::2a606c2b-1031-4842-b567-351303c62b15" providerId="AD" clId="Web-{18098757-CDCE-19F8-55E4-BD8FB51AA849}"/>
    <pc:docChg chg="addSld sldOrd modSection">
      <pc:chgData name="Luis Moßburger" userId="S::luis.mossburger@byte.bayern::2a606c2b-1031-4842-b567-351303c62b15" providerId="AD" clId="Web-{18098757-CDCE-19F8-55E4-BD8FB51AA849}" dt="2023-12-12T11:28:07.439" v="1"/>
      <pc:docMkLst>
        <pc:docMk/>
      </pc:docMkLst>
      <pc:sldChg chg="add ord">
        <pc:chgData name="Luis Moßburger" userId="S::luis.mossburger@byte.bayern::2a606c2b-1031-4842-b567-351303c62b15" providerId="AD" clId="Web-{18098757-CDCE-19F8-55E4-BD8FB51AA849}" dt="2023-12-12T11:28:07.439" v="1"/>
        <pc:sldMkLst>
          <pc:docMk/>
          <pc:sldMk cId="2283482432" sldId="2147375422"/>
        </pc:sldMkLst>
      </pc:sldChg>
    </pc:docChg>
  </pc:docChgLst>
  <pc:docChgLst>
    <pc:chgData name="Luis Moßburger" userId="S::luis.mossburger@byte.bayern::2a606c2b-1031-4842-b567-351303c62b15" providerId="AD" clId="Web-{191DBE9C-F0E6-FE54-B639-69C48BFF1650}"/>
    <pc:docChg chg="addSld modSld modSection">
      <pc:chgData name="Luis Moßburger" userId="S::luis.mossburger@byte.bayern::2a606c2b-1031-4842-b567-351303c62b15" providerId="AD" clId="Web-{191DBE9C-F0E6-FE54-B639-69C48BFF1650}" dt="2023-11-20T14:57:42.963" v="74" actId="20577"/>
      <pc:docMkLst>
        <pc:docMk/>
      </pc:docMkLst>
      <pc:sldChg chg="modSp">
        <pc:chgData name="Luis Moßburger" userId="S::luis.mossburger@byte.bayern::2a606c2b-1031-4842-b567-351303c62b15" providerId="AD" clId="Web-{191DBE9C-F0E6-FE54-B639-69C48BFF1650}" dt="2023-11-20T13:51:53.792" v="10" actId="20577"/>
        <pc:sldMkLst>
          <pc:docMk/>
          <pc:sldMk cId="1300533682" sldId="2147375412"/>
        </pc:sldMkLst>
        <pc:spChg chg="mod">
          <ac:chgData name="Luis Moßburger" userId="S::luis.mossburger@byte.bayern::2a606c2b-1031-4842-b567-351303c62b15" providerId="AD" clId="Web-{191DBE9C-F0E6-FE54-B639-69C48BFF1650}" dt="2023-11-20T13:51:53.792" v="10" actId="20577"/>
          <ac:spMkLst>
            <pc:docMk/>
            <pc:sldMk cId="1300533682" sldId="2147375412"/>
            <ac:spMk id="4" creationId="{238C3D29-A1DB-3BE0-C088-2F4CAC92AA4D}"/>
          </ac:spMkLst>
        </pc:spChg>
      </pc:sldChg>
      <pc:sldChg chg="modSp add replId">
        <pc:chgData name="Luis Moßburger" userId="S::luis.mossburger@byte.bayern::2a606c2b-1031-4842-b567-351303c62b15" providerId="AD" clId="Web-{191DBE9C-F0E6-FE54-B639-69C48BFF1650}" dt="2023-11-20T14:57:42.963" v="74" actId="20577"/>
        <pc:sldMkLst>
          <pc:docMk/>
          <pc:sldMk cId="1715779464" sldId="2147375416"/>
        </pc:sldMkLst>
        <pc:spChg chg="mod">
          <ac:chgData name="Luis Moßburger" userId="S::luis.mossburger@byte.bayern::2a606c2b-1031-4842-b567-351303c62b15" providerId="AD" clId="Web-{191DBE9C-F0E6-FE54-B639-69C48BFF1650}" dt="2023-11-20T14:57:37.759" v="68" actId="20577"/>
          <ac:spMkLst>
            <pc:docMk/>
            <pc:sldMk cId="1715779464" sldId="2147375416"/>
            <ac:spMk id="4" creationId="{238C3D29-A1DB-3BE0-C088-2F4CAC92AA4D}"/>
          </ac:spMkLst>
        </pc:spChg>
        <pc:spChg chg="mod">
          <ac:chgData name="Luis Moßburger" userId="S::luis.mossburger@byte.bayern::2a606c2b-1031-4842-b567-351303c62b15" providerId="AD" clId="Web-{191DBE9C-F0E6-FE54-B639-69C48BFF1650}" dt="2023-11-20T14:57:42.963" v="74" actId="20577"/>
          <ac:spMkLst>
            <pc:docMk/>
            <pc:sldMk cId="1715779464" sldId="2147375416"/>
            <ac:spMk id="5" creationId="{079C4434-0496-53DB-0A7D-89E502F81B8E}"/>
          </ac:spMkLst>
        </pc:spChg>
      </pc:sldChg>
    </pc:docChg>
  </pc:docChgLst>
  <pc:docChgLst>
    <pc:chgData name="Florian Baumann" userId="dbda361c-4caf-402c-ab43-225840f05745" providerId="ADAL" clId="{0F6F962F-F893-F740-8D69-5486D459C0C4}"/>
    <pc:docChg chg="undo custSel modSld">
      <pc:chgData name="Florian Baumann" userId="dbda361c-4caf-402c-ab43-225840f05745" providerId="ADAL" clId="{0F6F962F-F893-F740-8D69-5486D459C0C4}" dt="2023-10-16T07:22:15.050" v="163"/>
      <pc:docMkLst>
        <pc:docMk/>
      </pc:docMkLst>
      <pc:sldChg chg="delSp modSp mod">
        <pc:chgData name="Florian Baumann" userId="dbda361c-4caf-402c-ab43-225840f05745" providerId="ADAL" clId="{0F6F962F-F893-F740-8D69-5486D459C0C4}" dt="2023-10-16T07:13:55.105" v="148" actId="1036"/>
        <pc:sldMkLst>
          <pc:docMk/>
          <pc:sldMk cId="2744386159" sldId="277"/>
        </pc:sldMkLst>
        <pc:spChg chg="mod">
          <ac:chgData name="Florian Baumann" userId="dbda361c-4caf-402c-ab43-225840f05745" providerId="ADAL" clId="{0F6F962F-F893-F740-8D69-5486D459C0C4}" dt="2023-10-16T07:13:55.105" v="148" actId="1036"/>
          <ac:spMkLst>
            <pc:docMk/>
            <pc:sldMk cId="2744386159" sldId="277"/>
            <ac:spMk id="7" creationId="{58538F5C-0DC4-1055-2FA1-71723772CB5A}"/>
          </ac:spMkLst>
        </pc:spChg>
        <pc:cxnChg chg="del">
          <ac:chgData name="Florian Baumann" userId="dbda361c-4caf-402c-ab43-225840f05745" providerId="ADAL" clId="{0F6F962F-F893-F740-8D69-5486D459C0C4}" dt="2023-10-16T07:13:46.045" v="141" actId="478"/>
          <ac:cxnSpMkLst>
            <pc:docMk/>
            <pc:sldMk cId="2744386159" sldId="277"/>
            <ac:cxnSpMk id="5" creationId="{2C74D9C7-C6AF-FE7D-69C5-9B14E60B5BC8}"/>
          </ac:cxnSpMkLst>
        </pc:cxnChg>
      </pc:sldChg>
      <pc:sldChg chg="delSp modSp mod">
        <pc:chgData name="Florian Baumann" userId="dbda361c-4caf-402c-ab43-225840f05745" providerId="ADAL" clId="{0F6F962F-F893-F740-8D69-5486D459C0C4}" dt="2023-10-16T07:14:19.706" v="157" actId="1035"/>
        <pc:sldMkLst>
          <pc:docMk/>
          <pc:sldMk cId="1572031703" sldId="278"/>
        </pc:sldMkLst>
        <pc:spChg chg="mod">
          <ac:chgData name="Florian Baumann" userId="dbda361c-4caf-402c-ab43-225840f05745" providerId="ADAL" clId="{0F6F962F-F893-F740-8D69-5486D459C0C4}" dt="2023-10-16T07:14:19.706" v="157" actId="1035"/>
          <ac:spMkLst>
            <pc:docMk/>
            <pc:sldMk cId="1572031703" sldId="278"/>
            <ac:spMk id="7" creationId="{3C553FAA-F405-B1C8-687F-2DD833F6D7AA}"/>
          </ac:spMkLst>
        </pc:spChg>
        <pc:cxnChg chg="del">
          <ac:chgData name="Florian Baumann" userId="dbda361c-4caf-402c-ab43-225840f05745" providerId="ADAL" clId="{0F6F962F-F893-F740-8D69-5486D459C0C4}" dt="2023-10-16T07:14:14.348" v="149" actId="478"/>
          <ac:cxnSpMkLst>
            <pc:docMk/>
            <pc:sldMk cId="1572031703" sldId="278"/>
            <ac:cxnSpMk id="5" creationId="{C39EC32A-4A8C-DB35-690C-14A71431EC21}"/>
          </ac:cxnSpMkLst>
        </pc:cxnChg>
      </pc:sldChg>
      <pc:sldChg chg="delSp modSp mod">
        <pc:chgData name="Florian Baumann" userId="dbda361c-4caf-402c-ab43-225840f05745" providerId="ADAL" clId="{0F6F962F-F893-F740-8D69-5486D459C0C4}" dt="2023-10-16T07:13:15.592" v="130" actId="1035"/>
        <pc:sldMkLst>
          <pc:docMk/>
          <pc:sldMk cId="1299689136" sldId="296"/>
        </pc:sldMkLst>
        <pc:spChg chg="mod">
          <ac:chgData name="Florian Baumann" userId="dbda361c-4caf-402c-ab43-225840f05745" providerId="ADAL" clId="{0F6F962F-F893-F740-8D69-5486D459C0C4}" dt="2023-10-16T07:13:15.592" v="130" actId="1035"/>
          <ac:spMkLst>
            <pc:docMk/>
            <pc:sldMk cId="1299689136" sldId="296"/>
            <ac:spMk id="9" creationId="{586E24FD-3F8C-AD73-5F43-7EDB13F06DB2}"/>
          </ac:spMkLst>
        </pc:spChg>
        <pc:cxnChg chg="del">
          <ac:chgData name="Florian Baumann" userId="dbda361c-4caf-402c-ab43-225840f05745" providerId="ADAL" clId="{0F6F962F-F893-F740-8D69-5486D459C0C4}" dt="2023-10-16T07:13:03.846" v="127" actId="478"/>
          <ac:cxnSpMkLst>
            <pc:docMk/>
            <pc:sldMk cId="1299689136" sldId="296"/>
            <ac:cxnSpMk id="8" creationId="{1CE0250A-5FDA-8FAA-682B-074B64B8C917}"/>
          </ac:cxnSpMkLst>
        </pc:cxnChg>
      </pc:sldChg>
      <pc:sldChg chg="addSp delSp modSp mod">
        <pc:chgData name="Florian Baumann" userId="dbda361c-4caf-402c-ab43-225840f05745" providerId="ADAL" clId="{0F6F962F-F893-F740-8D69-5486D459C0C4}" dt="2023-10-16T07:20:04.971" v="159" actId="478"/>
        <pc:sldMkLst>
          <pc:docMk/>
          <pc:sldMk cId="3719644468" sldId="2147375318"/>
        </pc:sldMkLst>
        <pc:spChg chg="add del mod">
          <ac:chgData name="Florian Baumann" userId="dbda361c-4caf-402c-ab43-225840f05745" providerId="ADAL" clId="{0F6F962F-F893-F740-8D69-5486D459C0C4}" dt="2023-10-16T07:20:04.971" v="159" actId="478"/>
          <ac:spMkLst>
            <pc:docMk/>
            <pc:sldMk cId="3719644468" sldId="2147375318"/>
            <ac:spMk id="2" creationId="{82C4433B-ACB9-4DD8-AC51-7233A7FE663C}"/>
          </ac:spMkLst>
        </pc:spChg>
      </pc:sldChg>
      <pc:sldChg chg="addSp delSp modSp mod">
        <pc:chgData name="Florian Baumann" userId="dbda361c-4caf-402c-ab43-225840f05745" providerId="ADAL" clId="{0F6F962F-F893-F740-8D69-5486D459C0C4}" dt="2023-10-16T07:04:29.991" v="2" actId="478"/>
        <pc:sldMkLst>
          <pc:docMk/>
          <pc:sldMk cId="4015643244" sldId="2147375327"/>
        </pc:sldMkLst>
        <pc:spChg chg="del">
          <ac:chgData name="Florian Baumann" userId="dbda361c-4caf-402c-ab43-225840f05745" providerId="ADAL" clId="{0F6F962F-F893-F740-8D69-5486D459C0C4}" dt="2023-10-16T07:04:25.038" v="0" actId="478"/>
          <ac:spMkLst>
            <pc:docMk/>
            <pc:sldMk cId="4015643244" sldId="2147375327"/>
            <ac:spMk id="5" creationId="{750CA129-29A3-0CB6-A67F-A75C7AE2E008}"/>
          </ac:spMkLst>
        </pc:spChg>
        <pc:spChg chg="add del mod">
          <ac:chgData name="Florian Baumann" userId="dbda361c-4caf-402c-ab43-225840f05745" providerId="ADAL" clId="{0F6F962F-F893-F740-8D69-5486D459C0C4}" dt="2023-10-16T07:04:29.991" v="2" actId="478"/>
          <ac:spMkLst>
            <pc:docMk/>
            <pc:sldMk cId="4015643244" sldId="2147375327"/>
            <ac:spMk id="9" creationId="{9EFCF7BD-C254-1B0D-DA28-CE566050150D}"/>
          </ac:spMkLst>
        </pc:spChg>
        <pc:spChg chg="add mod">
          <ac:chgData name="Florian Baumann" userId="dbda361c-4caf-402c-ab43-225840f05745" providerId="ADAL" clId="{0F6F962F-F893-F740-8D69-5486D459C0C4}" dt="2023-10-16T07:04:25.520" v="1"/>
          <ac:spMkLst>
            <pc:docMk/>
            <pc:sldMk cId="4015643244" sldId="2147375327"/>
            <ac:spMk id="10" creationId="{399FCFC2-A144-47BF-9537-B9421979B41E}"/>
          </ac:spMkLst>
        </pc:spChg>
      </pc:sldChg>
      <pc:sldChg chg="delSp modSp mod">
        <pc:chgData name="Florian Baumann" userId="dbda361c-4caf-402c-ab43-225840f05745" providerId="ADAL" clId="{0F6F962F-F893-F740-8D69-5486D459C0C4}" dt="2023-10-16T07:04:54.290" v="8" actId="1035"/>
        <pc:sldMkLst>
          <pc:docMk/>
          <pc:sldMk cId="2279372925" sldId="2147375328"/>
        </pc:sldMkLst>
        <pc:spChg chg="mod">
          <ac:chgData name="Florian Baumann" userId="dbda361c-4caf-402c-ab43-225840f05745" providerId="ADAL" clId="{0F6F962F-F893-F740-8D69-5486D459C0C4}" dt="2023-10-16T07:04:54.290" v="8" actId="1035"/>
          <ac:spMkLst>
            <pc:docMk/>
            <pc:sldMk cId="2279372925" sldId="2147375328"/>
            <ac:spMk id="7" creationId="{58538F5C-0DC4-1055-2FA1-71723772CB5A}"/>
          </ac:spMkLst>
        </pc:spChg>
        <pc:cxnChg chg="del">
          <ac:chgData name="Florian Baumann" userId="dbda361c-4caf-402c-ab43-225840f05745" providerId="ADAL" clId="{0F6F962F-F893-F740-8D69-5486D459C0C4}" dt="2023-10-16T07:04:45.483" v="3" actId="478"/>
          <ac:cxnSpMkLst>
            <pc:docMk/>
            <pc:sldMk cId="2279372925" sldId="2147375328"/>
            <ac:cxnSpMk id="5" creationId="{FB07A62A-7873-C36F-66B0-2F8A84E927E4}"/>
          </ac:cxnSpMkLst>
        </pc:cxnChg>
      </pc:sldChg>
      <pc:sldChg chg="addSp delSp modSp mod modClrScheme chgLayout">
        <pc:chgData name="Florian Baumann" userId="dbda361c-4caf-402c-ab43-225840f05745" providerId="ADAL" clId="{0F6F962F-F893-F740-8D69-5486D459C0C4}" dt="2023-10-16T07:22:15.050" v="163"/>
        <pc:sldMkLst>
          <pc:docMk/>
          <pc:sldMk cId="726628516" sldId="2147375330"/>
        </pc:sldMkLst>
        <pc:spChg chg="add del mod ord">
          <ac:chgData name="Florian Baumann" userId="dbda361c-4caf-402c-ab43-225840f05745" providerId="ADAL" clId="{0F6F962F-F893-F740-8D69-5486D459C0C4}" dt="2023-10-16T07:11:12.631" v="46" actId="700"/>
          <ac:spMkLst>
            <pc:docMk/>
            <pc:sldMk cId="726628516" sldId="2147375330"/>
            <ac:spMk id="2" creationId="{D5D2A3E2-621E-BCA9-FD61-DE6FCA1EE479}"/>
          </ac:spMkLst>
        </pc:spChg>
        <pc:spChg chg="add del">
          <ac:chgData name="Florian Baumann" userId="dbda361c-4caf-402c-ab43-225840f05745" providerId="ADAL" clId="{0F6F962F-F893-F740-8D69-5486D459C0C4}" dt="2023-10-16T07:08:04.831" v="28" actId="478"/>
          <ac:spMkLst>
            <pc:docMk/>
            <pc:sldMk cId="726628516" sldId="2147375330"/>
            <ac:spMk id="3" creationId="{07AF8F7E-CF8F-D170-360D-5B56293497B8}"/>
          </ac:spMkLst>
        </pc:spChg>
        <pc:spChg chg="add del mod ord">
          <ac:chgData name="Florian Baumann" userId="dbda361c-4caf-402c-ab43-225840f05745" providerId="ADAL" clId="{0F6F962F-F893-F740-8D69-5486D459C0C4}" dt="2023-10-16T07:11:12.631" v="46" actId="700"/>
          <ac:spMkLst>
            <pc:docMk/>
            <pc:sldMk cId="726628516" sldId="2147375330"/>
            <ac:spMk id="4" creationId="{F1508577-CEF6-C90F-F876-EFA10FB615A2}"/>
          </ac:spMkLst>
        </pc:spChg>
        <pc:spChg chg="add del mod">
          <ac:chgData name="Florian Baumann" userId="dbda361c-4caf-402c-ab43-225840f05745" providerId="ADAL" clId="{0F6F962F-F893-F740-8D69-5486D459C0C4}" dt="2023-10-16T07:05:54.380" v="14" actId="478"/>
          <ac:spMkLst>
            <pc:docMk/>
            <pc:sldMk cId="726628516" sldId="2147375330"/>
            <ac:spMk id="5" creationId="{8C691557-784F-A51C-79CA-C359A4808E67}"/>
          </ac:spMkLst>
        </pc:spChg>
        <pc:spChg chg="add del">
          <ac:chgData name="Florian Baumann" userId="dbda361c-4caf-402c-ab43-225840f05745" providerId="ADAL" clId="{0F6F962F-F893-F740-8D69-5486D459C0C4}" dt="2023-10-16T07:08:01.216" v="27" actId="478"/>
          <ac:spMkLst>
            <pc:docMk/>
            <pc:sldMk cId="726628516" sldId="2147375330"/>
            <ac:spMk id="6" creationId="{63835439-5E5B-A4ED-78BB-D427A03C9B74}"/>
          </ac:spMkLst>
        </pc:spChg>
        <pc:spChg chg="add del mod">
          <ac:chgData name="Florian Baumann" userId="dbda361c-4caf-402c-ab43-225840f05745" providerId="ADAL" clId="{0F6F962F-F893-F740-8D69-5486D459C0C4}" dt="2023-10-16T07:06:19.386" v="17" actId="478"/>
          <ac:spMkLst>
            <pc:docMk/>
            <pc:sldMk cId="726628516" sldId="2147375330"/>
            <ac:spMk id="13" creationId="{5832EBEC-DA67-5A1D-570A-6122EFDF9E4E}"/>
          </ac:spMkLst>
        </pc:spChg>
        <pc:spChg chg="add del mod">
          <ac:chgData name="Florian Baumann" userId="dbda361c-4caf-402c-ab43-225840f05745" providerId="ADAL" clId="{0F6F962F-F893-F740-8D69-5486D459C0C4}" dt="2023-10-16T07:07:41.063" v="24" actId="478"/>
          <ac:spMkLst>
            <pc:docMk/>
            <pc:sldMk cId="726628516" sldId="2147375330"/>
            <ac:spMk id="14" creationId="{4A25E4D0-67A3-1B64-AF0C-1B72015B4C69}"/>
          </ac:spMkLst>
        </pc:spChg>
        <pc:spChg chg="add del mod ord">
          <ac:chgData name="Florian Baumann" userId="dbda361c-4caf-402c-ab43-225840f05745" providerId="ADAL" clId="{0F6F962F-F893-F740-8D69-5486D459C0C4}" dt="2023-10-16T07:11:12.631" v="46" actId="700"/>
          <ac:spMkLst>
            <pc:docMk/>
            <pc:sldMk cId="726628516" sldId="2147375330"/>
            <ac:spMk id="15" creationId="{343E965C-B2D4-FE52-2E1E-F26480F0F706}"/>
          </ac:spMkLst>
        </pc:spChg>
        <pc:spChg chg="add del mod">
          <ac:chgData name="Florian Baumann" userId="dbda361c-4caf-402c-ab43-225840f05745" providerId="ADAL" clId="{0F6F962F-F893-F740-8D69-5486D459C0C4}" dt="2023-10-16T07:08:01.216" v="27" actId="478"/>
          <ac:spMkLst>
            <pc:docMk/>
            <pc:sldMk cId="726628516" sldId="2147375330"/>
            <ac:spMk id="16" creationId="{6EFBAC91-8F7D-AFBB-68F4-D9AD47F6972D}"/>
          </ac:spMkLst>
        </pc:spChg>
        <pc:spChg chg="add del mod">
          <ac:chgData name="Florian Baumann" userId="dbda361c-4caf-402c-ab43-225840f05745" providerId="ADAL" clId="{0F6F962F-F893-F740-8D69-5486D459C0C4}" dt="2023-10-16T07:10:09.742" v="42" actId="478"/>
          <ac:spMkLst>
            <pc:docMk/>
            <pc:sldMk cId="726628516" sldId="2147375330"/>
            <ac:spMk id="17" creationId="{92EE842F-C444-DC58-423B-FDB11BE840D1}"/>
          </ac:spMkLst>
        </pc:spChg>
        <pc:spChg chg="add del mod">
          <ac:chgData name="Florian Baumann" userId="dbda361c-4caf-402c-ab43-225840f05745" providerId="ADAL" clId="{0F6F962F-F893-F740-8D69-5486D459C0C4}" dt="2023-10-16T07:08:01.216" v="27" actId="478"/>
          <ac:spMkLst>
            <pc:docMk/>
            <pc:sldMk cId="726628516" sldId="2147375330"/>
            <ac:spMk id="18" creationId="{9156DB5D-8AB7-254F-B6F3-B5485DE72BBB}"/>
          </ac:spMkLst>
        </pc:spChg>
        <pc:spChg chg="add del mod">
          <ac:chgData name="Florian Baumann" userId="dbda361c-4caf-402c-ab43-225840f05745" providerId="ADAL" clId="{0F6F962F-F893-F740-8D69-5486D459C0C4}" dt="2023-10-16T07:11:46.744" v="88" actId="478"/>
          <ac:spMkLst>
            <pc:docMk/>
            <pc:sldMk cId="726628516" sldId="2147375330"/>
            <ac:spMk id="19" creationId="{BE73752C-4E7C-F73F-3684-E1CBA062C4B3}"/>
          </ac:spMkLst>
        </pc:spChg>
        <pc:spChg chg="add del mod">
          <ac:chgData name="Florian Baumann" userId="dbda361c-4caf-402c-ab43-225840f05745" providerId="ADAL" clId="{0F6F962F-F893-F740-8D69-5486D459C0C4}" dt="2023-10-16T07:10:43.245" v="45" actId="6264"/>
          <ac:spMkLst>
            <pc:docMk/>
            <pc:sldMk cId="726628516" sldId="2147375330"/>
            <ac:spMk id="20" creationId="{39989107-23FE-6ADE-6550-261639B2946A}"/>
          </ac:spMkLst>
        </pc:spChg>
        <pc:spChg chg="add del mod">
          <ac:chgData name="Florian Baumann" userId="dbda361c-4caf-402c-ab43-225840f05745" providerId="ADAL" clId="{0F6F962F-F893-F740-8D69-5486D459C0C4}" dt="2023-10-16T07:10:43.245" v="45" actId="6264"/>
          <ac:spMkLst>
            <pc:docMk/>
            <pc:sldMk cId="726628516" sldId="2147375330"/>
            <ac:spMk id="21" creationId="{B5591C8E-BFAD-CF03-B57A-FC16C112B273}"/>
          </ac:spMkLst>
        </pc:spChg>
        <pc:spChg chg="add del mod">
          <ac:chgData name="Florian Baumann" userId="dbda361c-4caf-402c-ab43-225840f05745" providerId="ADAL" clId="{0F6F962F-F893-F740-8D69-5486D459C0C4}" dt="2023-10-16T07:10:43.245" v="45" actId="6264"/>
          <ac:spMkLst>
            <pc:docMk/>
            <pc:sldMk cId="726628516" sldId="2147375330"/>
            <ac:spMk id="22" creationId="{D4D2EC47-CA63-425A-6244-CE35E9C2784F}"/>
          </ac:spMkLst>
        </pc:spChg>
        <pc:spChg chg="add del mod ord">
          <ac:chgData name="Florian Baumann" userId="dbda361c-4caf-402c-ab43-225840f05745" providerId="ADAL" clId="{0F6F962F-F893-F740-8D69-5486D459C0C4}" dt="2023-10-16T07:12:54.652" v="126" actId="1038"/>
          <ac:spMkLst>
            <pc:docMk/>
            <pc:sldMk cId="726628516" sldId="2147375330"/>
            <ac:spMk id="23" creationId="{4301F739-9605-4E48-385C-A17FBDE5FD80}"/>
          </ac:spMkLst>
        </pc:spChg>
        <pc:grpChg chg="add del">
          <ac:chgData name="Florian Baumann" userId="dbda361c-4caf-402c-ab43-225840f05745" providerId="ADAL" clId="{0F6F962F-F893-F740-8D69-5486D459C0C4}" dt="2023-10-16T07:08:01.216" v="27" actId="478"/>
          <ac:grpSpMkLst>
            <pc:docMk/>
            <pc:sldMk cId="726628516" sldId="2147375330"/>
            <ac:grpSpMk id="7" creationId="{D7E531BB-3797-B9D0-775F-863EFCB83EE9}"/>
          </ac:grpSpMkLst>
        </pc:grpChg>
        <pc:picChg chg="add mod">
          <ac:chgData name="Florian Baumann" userId="dbda361c-4caf-402c-ab43-225840f05745" providerId="ADAL" clId="{0F6F962F-F893-F740-8D69-5486D459C0C4}" dt="2023-10-16T07:22:15.050" v="163"/>
          <ac:picMkLst>
            <pc:docMk/>
            <pc:sldMk cId="726628516" sldId="2147375330"/>
            <ac:picMk id="24" creationId="{48E6DCE5-C43F-E995-034E-84D9FF4847A3}"/>
          </ac:picMkLst>
        </pc:picChg>
      </pc:sldChg>
      <pc:sldChg chg="delSp modSp mod">
        <pc:chgData name="Florian Baumann" userId="dbda361c-4caf-402c-ab43-225840f05745" providerId="ADAL" clId="{0F6F962F-F893-F740-8D69-5486D459C0C4}" dt="2023-10-16T07:13:35.029" v="140" actId="1035"/>
        <pc:sldMkLst>
          <pc:docMk/>
          <pc:sldMk cId="2899031232" sldId="2147375374"/>
        </pc:sldMkLst>
        <pc:spChg chg="mod">
          <ac:chgData name="Florian Baumann" userId="dbda361c-4caf-402c-ab43-225840f05745" providerId="ADAL" clId="{0F6F962F-F893-F740-8D69-5486D459C0C4}" dt="2023-10-16T07:13:35.029" v="140" actId="1035"/>
          <ac:spMkLst>
            <pc:docMk/>
            <pc:sldMk cId="2899031232" sldId="2147375374"/>
            <ac:spMk id="7" creationId="{F2CA45AE-1AC5-BF75-EA05-595E50FF532D}"/>
          </ac:spMkLst>
        </pc:spChg>
        <pc:cxnChg chg="del">
          <ac:chgData name="Florian Baumann" userId="dbda361c-4caf-402c-ab43-225840f05745" providerId="ADAL" clId="{0F6F962F-F893-F740-8D69-5486D459C0C4}" dt="2023-10-16T07:13:27.231" v="131" actId="478"/>
          <ac:cxnSpMkLst>
            <pc:docMk/>
            <pc:sldMk cId="2899031232" sldId="2147375374"/>
            <ac:cxnSpMk id="8" creationId="{3E929944-2E8F-7CE6-6C57-B82782DE2BA3}"/>
          </ac:cxnSpMkLst>
        </pc:cxnChg>
      </pc:sldChg>
      <pc:sldChg chg="addSp delSp modSp mod modShow">
        <pc:chgData name="Florian Baumann" userId="dbda361c-4caf-402c-ab43-225840f05745" providerId="ADAL" clId="{0F6F962F-F893-F740-8D69-5486D459C0C4}" dt="2023-10-16T07:20:22.726" v="162"/>
        <pc:sldMkLst>
          <pc:docMk/>
          <pc:sldMk cId="547071293" sldId="2147375376"/>
        </pc:sldMkLst>
        <pc:spChg chg="add del mod">
          <ac:chgData name="Florian Baumann" userId="dbda361c-4caf-402c-ab43-225840f05745" providerId="ADAL" clId="{0F6F962F-F893-F740-8D69-5486D459C0C4}" dt="2023-10-16T07:20:22.726" v="162"/>
          <ac:spMkLst>
            <pc:docMk/>
            <pc:sldMk cId="547071293" sldId="2147375376"/>
            <ac:spMk id="6" creationId="{CBC8CC90-99F6-1AE6-8C27-5EB6F6CCDD5C}"/>
          </ac:spMkLst>
        </pc:spChg>
      </pc:sldChg>
      <pc:sldChg chg="mod modShow">
        <pc:chgData name="Florian Baumann" userId="dbda361c-4caf-402c-ab43-225840f05745" providerId="ADAL" clId="{0F6F962F-F893-F740-8D69-5486D459C0C4}" dt="2023-10-16T07:05:08.876" v="9" actId="729"/>
        <pc:sldMkLst>
          <pc:docMk/>
          <pc:sldMk cId="2956064268" sldId="2147375377"/>
        </pc:sldMkLst>
      </pc:sldChg>
    </pc:docChg>
  </pc:docChgLst>
  <pc:docChgLst>
    <pc:chgData name="Florian Baumann" userId="dbda361c-4caf-402c-ab43-225840f05745" providerId="ADAL" clId="{371CE3CC-8CD0-F643-8A83-A33D6F10CCF1}"/>
    <pc:docChg chg="undo custSel addSld delSld modSld modMainMaster">
      <pc:chgData name="Florian Baumann" userId="dbda361c-4caf-402c-ab43-225840f05745" providerId="ADAL" clId="{371CE3CC-8CD0-F643-8A83-A33D6F10CCF1}" dt="2023-10-12T07:38:31.540" v="86" actId="3064"/>
      <pc:docMkLst>
        <pc:docMk/>
      </pc:docMkLst>
      <pc:sldChg chg="delSp mod">
        <pc:chgData name="Florian Baumann" userId="dbda361c-4caf-402c-ab43-225840f05745" providerId="ADAL" clId="{371CE3CC-8CD0-F643-8A83-A33D6F10CCF1}" dt="2023-10-11T14:58:42.102" v="32" actId="478"/>
        <pc:sldMkLst>
          <pc:docMk/>
          <pc:sldMk cId="2201049876" sldId="257"/>
        </pc:sldMkLst>
        <pc:picChg chg="del">
          <ac:chgData name="Florian Baumann" userId="dbda361c-4caf-402c-ab43-225840f05745" providerId="ADAL" clId="{371CE3CC-8CD0-F643-8A83-A33D6F10CCF1}" dt="2023-10-11T14:58:42.102" v="32" actId="478"/>
          <ac:picMkLst>
            <pc:docMk/>
            <pc:sldMk cId="2201049876" sldId="257"/>
            <ac:picMk id="2" creationId="{12010D6B-8369-1F73-6EBE-D65747089EE8}"/>
          </ac:picMkLst>
        </pc:picChg>
      </pc:sldChg>
      <pc:sldChg chg="modSp mod modClrScheme chgLayout">
        <pc:chgData name="Florian Baumann" userId="dbda361c-4caf-402c-ab43-225840f05745" providerId="ADAL" clId="{371CE3CC-8CD0-F643-8A83-A33D6F10CCF1}" dt="2023-10-11T15:16:54.536" v="85" actId="700"/>
        <pc:sldMkLst>
          <pc:docMk/>
          <pc:sldMk cId="4015643244" sldId="2147375327"/>
        </pc:sldMkLst>
        <pc:spChg chg="mod ord">
          <ac:chgData name="Florian Baumann" userId="dbda361c-4caf-402c-ab43-225840f05745" providerId="ADAL" clId="{371CE3CC-8CD0-F643-8A83-A33D6F10CCF1}" dt="2023-10-11T15:16:54.536" v="85" actId="700"/>
          <ac:spMkLst>
            <pc:docMk/>
            <pc:sldMk cId="4015643244" sldId="2147375327"/>
            <ac:spMk id="2" creationId="{B8895812-385B-838B-F4AE-22AD6E9878B8}"/>
          </ac:spMkLst>
        </pc:spChg>
        <pc:spChg chg="mod ord">
          <ac:chgData name="Florian Baumann" userId="dbda361c-4caf-402c-ab43-225840f05745" providerId="ADAL" clId="{371CE3CC-8CD0-F643-8A83-A33D6F10CCF1}" dt="2023-10-11T15:16:54.536" v="85" actId="700"/>
          <ac:spMkLst>
            <pc:docMk/>
            <pc:sldMk cId="4015643244" sldId="2147375327"/>
            <ac:spMk id="3" creationId="{76A4FF29-B901-F9CC-84B7-D53945CC6068}"/>
          </ac:spMkLst>
        </pc:spChg>
        <pc:spChg chg="mod ord">
          <ac:chgData name="Florian Baumann" userId="dbda361c-4caf-402c-ab43-225840f05745" providerId="ADAL" clId="{371CE3CC-8CD0-F643-8A83-A33D6F10CCF1}" dt="2023-10-11T15:16:54.536" v="85" actId="700"/>
          <ac:spMkLst>
            <pc:docMk/>
            <pc:sldMk cId="4015643244" sldId="2147375327"/>
            <ac:spMk id="4" creationId="{2EB2C9C3-5A4E-35EC-7FF6-68ED5F95D7CB}"/>
          </ac:spMkLst>
        </pc:spChg>
        <pc:spChg chg="mod ord">
          <ac:chgData name="Florian Baumann" userId="dbda361c-4caf-402c-ab43-225840f05745" providerId="ADAL" clId="{371CE3CC-8CD0-F643-8A83-A33D6F10CCF1}" dt="2023-10-11T15:16:54.536" v="85" actId="700"/>
          <ac:spMkLst>
            <pc:docMk/>
            <pc:sldMk cId="4015643244" sldId="2147375327"/>
            <ac:spMk id="5" creationId="{750CA129-29A3-0CB6-A67F-A75C7AE2E008}"/>
          </ac:spMkLst>
        </pc:spChg>
      </pc:sldChg>
      <pc:sldChg chg="modSp mod">
        <pc:chgData name="Florian Baumann" userId="dbda361c-4caf-402c-ab43-225840f05745" providerId="ADAL" clId="{371CE3CC-8CD0-F643-8A83-A33D6F10CCF1}" dt="2023-10-12T07:38:31.540" v="86" actId="3064"/>
        <pc:sldMkLst>
          <pc:docMk/>
          <pc:sldMk cId="2279372925" sldId="2147375328"/>
        </pc:sldMkLst>
        <pc:spChg chg="mod">
          <ac:chgData name="Florian Baumann" userId="dbda361c-4caf-402c-ab43-225840f05745" providerId="ADAL" clId="{371CE3CC-8CD0-F643-8A83-A33D6F10CCF1}" dt="2023-10-12T07:38:31.540" v="86" actId="3064"/>
          <ac:spMkLst>
            <pc:docMk/>
            <pc:sldMk cId="2279372925" sldId="2147375328"/>
            <ac:spMk id="7" creationId="{58538F5C-0DC4-1055-2FA1-71723772CB5A}"/>
          </ac:spMkLst>
        </pc:spChg>
      </pc:sldChg>
      <pc:sldChg chg="addSp delSp modSp add del mod modClrScheme chgLayout">
        <pc:chgData name="Florian Baumann" userId="dbda361c-4caf-402c-ab43-225840f05745" providerId="ADAL" clId="{371CE3CC-8CD0-F643-8A83-A33D6F10CCF1}" dt="2023-10-11T14:25:45.390" v="14" actId="2696"/>
        <pc:sldMkLst>
          <pc:docMk/>
          <pc:sldMk cId="96237854" sldId="2147375372"/>
        </pc:sldMkLst>
        <pc:spChg chg="mod ord">
          <ac:chgData name="Florian Baumann" userId="dbda361c-4caf-402c-ab43-225840f05745" providerId="ADAL" clId="{371CE3CC-8CD0-F643-8A83-A33D6F10CCF1}" dt="2023-10-11T14:24:07.028" v="5" actId="6264"/>
          <ac:spMkLst>
            <pc:docMk/>
            <pc:sldMk cId="96237854" sldId="2147375372"/>
            <ac:spMk id="2" creationId="{7E2FC34E-61FB-CE9C-D586-0437884515DC}"/>
          </ac:spMkLst>
        </pc:spChg>
        <pc:spChg chg="mod ord">
          <ac:chgData name="Florian Baumann" userId="dbda361c-4caf-402c-ab43-225840f05745" providerId="ADAL" clId="{371CE3CC-8CD0-F643-8A83-A33D6F10CCF1}" dt="2023-10-11T14:24:07.028" v="5" actId="6264"/>
          <ac:spMkLst>
            <pc:docMk/>
            <pc:sldMk cId="96237854" sldId="2147375372"/>
            <ac:spMk id="3" creationId="{78C7885E-78E6-2A43-2393-ADA790A8D6A4}"/>
          </ac:spMkLst>
        </pc:spChg>
        <pc:spChg chg="add del mod">
          <ac:chgData name="Florian Baumann" userId="dbda361c-4caf-402c-ab43-225840f05745" providerId="ADAL" clId="{371CE3CC-8CD0-F643-8A83-A33D6F10CCF1}" dt="2023-10-11T14:24:07.028" v="5" actId="6264"/>
          <ac:spMkLst>
            <pc:docMk/>
            <pc:sldMk cId="96237854" sldId="2147375372"/>
            <ac:spMk id="10" creationId="{5CE3D450-DF0B-9F84-F10D-F04DB111568F}"/>
          </ac:spMkLst>
        </pc:spChg>
        <pc:spChg chg="add del mod">
          <ac:chgData name="Florian Baumann" userId="dbda361c-4caf-402c-ab43-225840f05745" providerId="ADAL" clId="{371CE3CC-8CD0-F643-8A83-A33D6F10CCF1}" dt="2023-10-11T14:24:07.028" v="5" actId="6264"/>
          <ac:spMkLst>
            <pc:docMk/>
            <pc:sldMk cId="96237854" sldId="2147375372"/>
            <ac:spMk id="12" creationId="{7029D198-22CA-5400-4A68-E6A766F7AAA3}"/>
          </ac:spMkLst>
        </pc:spChg>
      </pc:sldChg>
      <pc:sldChg chg="modSp mod">
        <pc:chgData name="Florian Baumann" userId="dbda361c-4caf-402c-ab43-225840f05745" providerId="ADAL" clId="{371CE3CC-8CD0-F643-8A83-A33D6F10CCF1}" dt="2023-10-11T14:37:53.931" v="30" actId="18131"/>
        <pc:sldMkLst>
          <pc:docMk/>
          <pc:sldMk cId="2899031232" sldId="2147375374"/>
        </pc:sldMkLst>
        <pc:picChg chg="mod modCrop">
          <ac:chgData name="Florian Baumann" userId="dbda361c-4caf-402c-ab43-225840f05745" providerId="ADAL" clId="{371CE3CC-8CD0-F643-8A83-A33D6F10CCF1}" dt="2023-10-11T14:37:53.931" v="30" actId="18131"/>
          <ac:picMkLst>
            <pc:docMk/>
            <pc:sldMk cId="2899031232" sldId="2147375374"/>
            <ac:picMk id="6" creationId="{EC949A7D-13CF-A697-425C-6E2098DF573F}"/>
          </ac:picMkLst>
        </pc:picChg>
      </pc:sldChg>
      <pc:sldChg chg="delSp del mod">
        <pc:chgData name="Florian Baumann" userId="dbda361c-4caf-402c-ab43-225840f05745" providerId="ADAL" clId="{371CE3CC-8CD0-F643-8A83-A33D6F10CCF1}" dt="2023-10-11T14:59:11.464" v="34" actId="2696"/>
        <pc:sldMkLst>
          <pc:docMk/>
          <pc:sldMk cId="2874274560" sldId="2147375375"/>
        </pc:sldMkLst>
        <pc:picChg chg="del">
          <ac:chgData name="Florian Baumann" userId="dbda361c-4caf-402c-ab43-225840f05745" providerId="ADAL" clId="{371CE3CC-8CD0-F643-8A83-A33D6F10CCF1}" dt="2023-10-11T14:58:48.116" v="33" actId="478"/>
          <ac:picMkLst>
            <pc:docMk/>
            <pc:sldMk cId="2874274560" sldId="2147375375"/>
            <ac:picMk id="3" creationId="{A7D0F564-57A4-F117-5B7C-31F3F8C220AC}"/>
          </ac:picMkLst>
        </pc:picChg>
      </pc:sldChg>
      <pc:sldChg chg="addSp delSp modSp new mod modAnim">
        <pc:chgData name="Florian Baumann" userId="dbda361c-4caf-402c-ab43-225840f05745" providerId="ADAL" clId="{371CE3CC-8CD0-F643-8A83-A33D6F10CCF1}" dt="2023-10-11T14:26:54.417" v="20"/>
        <pc:sldMkLst>
          <pc:docMk/>
          <pc:sldMk cId="1215231123" sldId="2147375378"/>
        </pc:sldMkLst>
        <pc:spChg chg="mod">
          <ac:chgData name="Florian Baumann" userId="dbda361c-4caf-402c-ab43-225840f05745" providerId="ADAL" clId="{371CE3CC-8CD0-F643-8A83-A33D6F10CCF1}" dt="2023-10-11T14:25:42.373" v="13"/>
          <ac:spMkLst>
            <pc:docMk/>
            <pc:sldMk cId="1215231123" sldId="2147375378"/>
            <ac:spMk id="2" creationId="{9C880208-7A6E-89B2-9A14-56C746272A82}"/>
          </ac:spMkLst>
        </pc:spChg>
        <pc:spChg chg="mod">
          <ac:chgData name="Florian Baumann" userId="dbda361c-4caf-402c-ab43-225840f05745" providerId="ADAL" clId="{371CE3CC-8CD0-F643-8A83-A33D6F10CCF1}" dt="2023-10-11T14:24:37.178" v="8" actId="20577"/>
          <ac:spMkLst>
            <pc:docMk/>
            <pc:sldMk cId="1215231123" sldId="2147375378"/>
            <ac:spMk id="5" creationId="{3409AB0D-1D11-14B6-65F9-9301ADFCC542}"/>
          </ac:spMkLst>
        </pc:spChg>
        <pc:spChg chg="add mod">
          <ac:chgData name="Florian Baumann" userId="dbda361c-4caf-402c-ab43-225840f05745" providerId="ADAL" clId="{371CE3CC-8CD0-F643-8A83-A33D6F10CCF1}" dt="2023-10-11T14:25:00.653" v="9"/>
          <ac:spMkLst>
            <pc:docMk/>
            <pc:sldMk cId="1215231123" sldId="2147375378"/>
            <ac:spMk id="7" creationId="{78FB9C83-95E1-5401-4314-2B39BE088AFA}"/>
          </ac:spMkLst>
        </pc:spChg>
        <pc:spChg chg="add mod">
          <ac:chgData name="Florian Baumann" userId="dbda361c-4caf-402c-ab43-225840f05745" providerId="ADAL" clId="{371CE3CC-8CD0-F643-8A83-A33D6F10CCF1}" dt="2023-10-11T14:25:00.653" v="9"/>
          <ac:spMkLst>
            <pc:docMk/>
            <pc:sldMk cId="1215231123" sldId="2147375378"/>
            <ac:spMk id="8" creationId="{672215D3-1276-8819-8475-C6E223238ECA}"/>
          </ac:spMkLst>
        </pc:spChg>
        <pc:spChg chg="add mod">
          <ac:chgData name="Florian Baumann" userId="dbda361c-4caf-402c-ab43-225840f05745" providerId="ADAL" clId="{371CE3CC-8CD0-F643-8A83-A33D6F10CCF1}" dt="2023-10-11T14:25:00.653" v="9"/>
          <ac:spMkLst>
            <pc:docMk/>
            <pc:sldMk cId="1215231123" sldId="2147375378"/>
            <ac:spMk id="9" creationId="{1268E18F-0F27-D5C5-BB4E-CCA4BF41BD1F}"/>
          </ac:spMkLst>
        </pc:spChg>
        <pc:spChg chg="add mod">
          <ac:chgData name="Florian Baumann" userId="dbda361c-4caf-402c-ab43-225840f05745" providerId="ADAL" clId="{371CE3CC-8CD0-F643-8A83-A33D6F10CCF1}" dt="2023-10-11T14:25:00.653" v="9"/>
          <ac:spMkLst>
            <pc:docMk/>
            <pc:sldMk cId="1215231123" sldId="2147375378"/>
            <ac:spMk id="10" creationId="{F00B8A61-D476-5B18-6767-DDBE7AA230D9}"/>
          </ac:spMkLst>
        </pc:spChg>
        <pc:spChg chg="add mod">
          <ac:chgData name="Florian Baumann" userId="dbda361c-4caf-402c-ab43-225840f05745" providerId="ADAL" clId="{371CE3CC-8CD0-F643-8A83-A33D6F10CCF1}" dt="2023-10-11T14:25:00.653" v="9"/>
          <ac:spMkLst>
            <pc:docMk/>
            <pc:sldMk cId="1215231123" sldId="2147375378"/>
            <ac:spMk id="11" creationId="{9415EAC6-C203-8152-4051-53F01F76A699}"/>
          </ac:spMkLst>
        </pc:spChg>
        <pc:spChg chg="add mod">
          <ac:chgData name="Florian Baumann" userId="dbda361c-4caf-402c-ab43-225840f05745" providerId="ADAL" clId="{371CE3CC-8CD0-F643-8A83-A33D6F10CCF1}" dt="2023-10-11T14:25:00.653" v="9"/>
          <ac:spMkLst>
            <pc:docMk/>
            <pc:sldMk cId="1215231123" sldId="2147375378"/>
            <ac:spMk id="15" creationId="{96849F51-3294-73A3-F2E1-9ED22F904E8D}"/>
          </ac:spMkLst>
        </pc:spChg>
        <pc:spChg chg="add del mod">
          <ac:chgData name="Florian Baumann" userId="dbda361c-4caf-402c-ab43-225840f05745" providerId="ADAL" clId="{371CE3CC-8CD0-F643-8A83-A33D6F10CCF1}" dt="2023-10-11T14:26:54.417" v="20"/>
          <ac:spMkLst>
            <pc:docMk/>
            <pc:sldMk cId="1215231123" sldId="2147375378"/>
            <ac:spMk id="16" creationId="{EDFB3106-0F17-072B-B5E2-42E1D8EEB603}"/>
          </ac:spMkLst>
        </pc:spChg>
        <pc:grpChg chg="add mod">
          <ac:chgData name="Florian Baumann" userId="dbda361c-4caf-402c-ab43-225840f05745" providerId="ADAL" clId="{371CE3CC-8CD0-F643-8A83-A33D6F10CCF1}" dt="2023-10-11T14:25:00.653" v="9"/>
          <ac:grpSpMkLst>
            <pc:docMk/>
            <pc:sldMk cId="1215231123" sldId="2147375378"/>
            <ac:grpSpMk id="12" creationId="{B6696D46-159C-3869-030B-B2E7CA2486C6}"/>
          </ac:grpSpMkLst>
        </pc:grpChg>
        <pc:inkChg chg="add mod">
          <ac:chgData name="Florian Baumann" userId="dbda361c-4caf-402c-ab43-225840f05745" providerId="ADAL" clId="{371CE3CC-8CD0-F643-8A83-A33D6F10CCF1}" dt="2023-10-11T14:25:00.653" v="9"/>
          <ac:inkMkLst>
            <pc:docMk/>
            <pc:sldMk cId="1215231123" sldId="2147375378"/>
            <ac:inkMk id="6" creationId="{52E418AE-0ACA-0A53-6365-B9B910F31118}"/>
          </ac:inkMkLst>
        </pc:inkChg>
        <pc:inkChg chg="mod">
          <ac:chgData name="Florian Baumann" userId="dbda361c-4caf-402c-ab43-225840f05745" providerId="ADAL" clId="{371CE3CC-8CD0-F643-8A83-A33D6F10CCF1}" dt="2023-10-11T14:25:00.653" v="9"/>
          <ac:inkMkLst>
            <pc:docMk/>
            <pc:sldMk cId="1215231123" sldId="2147375378"/>
            <ac:inkMk id="13" creationId="{B2107699-5D99-2C13-7D62-A1613FCA4E59}"/>
          </ac:inkMkLst>
        </pc:inkChg>
        <pc:inkChg chg="mod">
          <ac:chgData name="Florian Baumann" userId="dbda361c-4caf-402c-ab43-225840f05745" providerId="ADAL" clId="{371CE3CC-8CD0-F643-8A83-A33D6F10CCF1}" dt="2023-10-11T14:25:00.653" v="9"/>
          <ac:inkMkLst>
            <pc:docMk/>
            <pc:sldMk cId="1215231123" sldId="2147375378"/>
            <ac:inkMk id="14" creationId="{C1C6B137-1A5A-C574-AB17-CCA8483880E5}"/>
          </ac:inkMkLst>
        </pc:inkChg>
      </pc:sldChg>
      <pc:sldChg chg="addSp delSp modSp new del">
        <pc:chgData name="Florian Baumann" userId="dbda361c-4caf-402c-ab43-225840f05745" providerId="ADAL" clId="{371CE3CC-8CD0-F643-8A83-A33D6F10CCF1}" dt="2023-10-11T15:13:28.310" v="57" actId="2696"/>
        <pc:sldMkLst>
          <pc:docMk/>
          <pc:sldMk cId="380442920" sldId="2147375379"/>
        </pc:sldMkLst>
        <pc:spChg chg="add del mod">
          <ac:chgData name="Florian Baumann" userId="dbda361c-4caf-402c-ab43-225840f05745" providerId="ADAL" clId="{371CE3CC-8CD0-F643-8A83-A33D6F10CCF1}" dt="2023-10-11T15:13:23.945" v="56"/>
          <ac:spMkLst>
            <pc:docMk/>
            <pc:sldMk cId="380442920" sldId="2147375379"/>
            <ac:spMk id="5" creationId="{B59CF057-8E39-42C5-300D-1E648C8428F7}"/>
          </ac:spMkLst>
        </pc:spChg>
      </pc:sldChg>
      <pc:sldChg chg="new del">
        <pc:chgData name="Florian Baumann" userId="dbda361c-4caf-402c-ab43-225840f05745" providerId="ADAL" clId="{371CE3CC-8CD0-F643-8A83-A33D6F10CCF1}" dt="2023-10-11T15:05:39.766" v="36" actId="680"/>
        <pc:sldMkLst>
          <pc:docMk/>
          <pc:sldMk cId="2124436836" sldId="2147375379"/>
        </pc:sldMkLst>
      </pc:sldChg>
      <pc:sldChg chg="addSp modSp new del mod modAnim">
        <pc:chgData name="Florian Baumann" userId="dbda361c-4caf-402c-ab43-225840f05745" providerId="ADAL" clId="{371CE3CC-8CD0-F643-8A83-A33D6F10CCF1}" dt="2023-10-11T15:16:40.904" v="84" actId="2696"/>
        <pc:sldMkLst>
          <pc:docMk/>
          <pc:sldMk cId="3884616264" sldId="2147375379"/>
        </pc:sldMkLst>
        <pc:spChg chg="mod">
          <ac:chgData name="Florian Baumann" userId="dbda361c-4caf-402c-ab43-225840f05745" providerId="ADAL" clId="{371CE3CC-8CD0-F643-8A83-A33D6F10CCF1}" dt="2023-10-11T15:14:58.933" v="77" actId="20577"/>
          <ac:spMkLst>
            <pc:docMk/>
            <pc:sldMk cId="3884616264" sldId="2147375379"/>
            <ac:spMk id="2" creationId="{962A7C88-D268-1ACE-10FC-C0B8879C89C6}"/>
          </ac:spMkLst>
        </pc:spChg>
        <pc:spChg chg="mod">
          <ac:chgData name="Florian Baumann" userId="dbda361c-4caf-402c-ab43-225840f05745" providerId="ADAL" clId="{371CE3CC-8CD0-F643-8A83-A33D6F10CCF1}" dt="2023-10-11T15:14:48.039" v="64" actId="20577"/>
          <ac:spMkLst>
            <pc:docMk/>
            <pc:sldMk cId="3884616264" sldId="2147375379"/>
            <ac:spMk id="5" creationId="{709C9610-BEE6-7B02-52C9-5C0FACD815AB}"/>
          </ac:spMkLst>
        </pc:spChg>
        <pc:spChg chg="add mod">
          <ac:chgData name="Florian Baumann" userId="dbda361c-4caf-402c-ab43-225840f05745" providerId="ADAL" clId="{371CE3CC-8CD0-F643-8A83-A33D6F10CCF1}" dt="2023-10-11T15:15:28.932" v="83" actId="1037"/>
          <ac:spMkLst>
            <pc:docMk/>
            <pc:sldMk cId="3884616264" sldId="2147375379"/>
            <ac:spMk id="6" creationId="{AF54DFE9-BB17-27C9-D52F-0F454528769F}"/>
          </ac:spMkLst>
        </pc:spChg>
      </pc:sldChg>
      <pc:sldMasterChg chg="modSldLayout">
        <pc:chgData name="Florian Baumann" userId="dbda361c-4caf-402c-ab43-225840f05745" providerId="ADAL" clId="{371CE3CC-8CD0-F643-8A83-A33D6F10CCF1}" dt="2023-10-11T15:11:27.768" v="51"/>
        <pc:sldMasterMkLst>
          <pc:docMk/>
          <pc:sldMasterMk cId="3689281850" sldId="2147483648"/>
        </pc:sldMasterMkLst>
        <pc:sldLayoutChg chg="addSp delSp modSp mod">
          <pc:chgData name="Florian Baumann" userId="dbda361c-4caf-402c-ab43-225840f05745" providerId="ADAL" clId="{371CE3CC-8CD0-F643-8A83-A33D6F10CCF1}" dt="2023-10-11T14:29:54.676" v="28"/>
          <pc:sldLayoutMkLst>
            <pc:docMk/>
            <pc:sldMasterMk cId="3689281850" sldId="2147483648"/>
            <pc:sldLayoutMk cId="1820548716" sldId="2147483656"/>
          </pc:sldLayoutMkLst>
          <pc:spChg chg="add mod">
            <ac:chgData name="Florian Baumann" userId="dbda361c-4caf-402c-ab43-225840f05745" providerId="ADAL" clId="{371CE3CC-8CD0-F643-8A83-A33D6F10CCF1}" dt="2023-10-11T14:28:26.135" v="21"/>
            <ac:spMkLst>
              <pc:docMk/>
              <pc:sldMasterMk cId="3689281850" sldId="2147483648"/>
              <pc:sldLayoutMk cId="1820548716" sldId="2147483656"/>
              <ac:spMk id="3" creationId="{A4730B25-782F-8B67-B90C-2FCD52395A73}"/>
            </ac:spMkLst>
          </pc:spChg>
          <pc:cxnChg chg="del mod">
            <ac:chgData name="Florian Baumann" userId="dbda361c-4caf-402c-ab43-225840f05745" providerId="ADAL" clId="{371CE3CC-8CD0-F643-8A83-A33D6F10CCF1}" dt="2023-10-11T14:29:54.662" v="27" actId="478"/>
            <ac:cxnSpMkLst>
              <pc:docMk/>
              <pc:sldMasterMk cId="3689281850" sldId="2147483648"/>
              <pc:sldLayoutMk cId="1820548716" sldId="2147483656"/>
              <ac:cxnSpMk id="14" creationId="{C1C5AE54-951F-6266-B315-8D3BB7762EC0}"/>
            </ac:cxnSpMkLst>
          </pc:cxnChg>
          <pc:cxnChg chg="add mod">
            <ac:chgData name="Florian Baumann" userId="dbda361c-4caf-402c-ab43-225840f05745" providerId="ADAL" clId="{371CE3CC-8CD0-F643-8A83-A33D6F10CCF1}" dt="2023-10-11T14:29:54.676" v="28"/>
            <ac:cxnSpMkLst>
              <pc:docMk/>
              <pc:sldMasterMk cId="3689281850" sldId="2147483648"/>
              <pc:sldLayoutMk cId="1820548716" sldId="2147483656"/>
              <ac:cxnSpMk id="16" creationId="{CC4B13A0-E95B-9C3E-2882-85EAFEC87395}"/>
            </ac:cxnSpMkLst>
          </pc:cxnChg>
        </pc:sldLayoutChg>
        <pc:sldLayoutChg chg="addSp modSp mod">
          <pc:chgData name="Florian Baumann" userId="dbda361c-4caf-402c-ab43-225840f05745" providerId="ADAL" clId="{371CE3CC-8CD0-F643-8A83-A33D6F10CCF1}" dt="2023-10-11T14:29:46.148" v="26" actId="14100"/>
          <pc:sldLayoutMkLst>
            <pc:docMk/>
            <pc:sldMasterMk cId="3689281850" sldId="2147483648"/>
            <pc:sldLayoutMk cId="1913902303" sldId="2147483657"/>
          </pc:sldLayoutMkLst>
          <pc:spChg chg="add mod">
            <ac:chgData name="Florian Baumann" userId="dbda361c-4caf-402c-ab43-225840f05745" providerId="ADAL" clId="{371CE3CC-8CD0-F643-8A83-A33D6F10CCF1}" dt="2023-10-11T14:29:02.668" v="24" actId="207"/>
            <ac:spMkLst>
              <pc:docMk/>
              <pc:sldMasterMk cId="3689281850" sldId="2147483648"/>
              <pc:sldLayoutMk cId="1913902303" sldId="2147483657"/>
              <ac:spMk id="3" creationId="{9F14E8AD-9CC6-FF95-9546-478AB9A35415}"/>
            </ac:spMkLst>
          </pc:spChg>
          <pc:cxnChg chg="mod">
            <ac:chgData name="Florian Baumann" userId="dbda361c-4caf-402c-ab43-225840f05745" providerId="ADAL" clId="{371CE3CC-8CD0-F643-8A83-A33D6F10CCF1}" dt="2023-10-11T14:29:46.148" v="26" actId="14100"/>
            <ac:cxnSpMkLst>
              <pc:docMk/>
              <pc:sldMasterMk cId="3689281850" sldId="2147483648"/>
              <pc:sldLayoutMk cId="1913902303" sldId="2147483657"/>
              <ac:cxnSpMk id="14" creationId="{C1C5AE54-951F-6266-B315-8D3BB7762EC0}"/>
            </ac:cxnSpMkLst>
          </pc:cxnChg>
        </pc:sldLayoutChg>
        <pc:sldLayoutChg chg="modSp">
          <pc:chgData name="Florian Baumann" userId="dbda361c-4caf-402c-ab43-225840f05745" providerId="ADAL" clId="{371CE3CC-8CD0-F643-8A83-A33D6F10CCF1}" dt="2023-10-11T15:10:58.313" v="48" actId="207"/>
          <pc:sldLayoutMkLst>
            <pc:docMk/>
            <pc:sldMasterMk cId="3689281850" sldId="2147483648"/>
            <pc:sldLayoutMk cId="3377323260" sldId="2147483699"/>
          </pc:sldLayoutMkLst>
          <pc:spChg chg="mod">
            <ac:chgData name="Florian Baumann" userId="dbda361c-4caf-402c-ab43-225840f05745" providerId="ADAL" clId="{371CE3CC-8CD0-F643-8A83-A33D6F10CCF1}" dt="2023-10-11T15:10:50.873" v="46" actId="207"/>
            <ac:spMkLst>
              <pc:docMk/>
              <pc:sldMasterMk cId="3689281850" sldId="2147483648"/>
              <pc:sldLayoutMk cId="3377323260" sldId="2147483699"/>
              <ac:spMk id="2" creationId="{6009852B-458E-93C7-3276-73B689031068}"/>
            </ac:spMkLst>
          </pc:spChg>
          <pc:spChg chg="mod">
            <ac:chgData name="Florian Baumann" userId="dbda361c-4caf-402c-ab43-225840f05745" providerId="ADAL" clId="{371CE3CC-8CD0-F643-8A83-A33D6F10CCF1}" dt="2023-10-11T15:10:54.597" v="47" actId="207"/>
            <ac:spMkLst>
              <pc:docMk/>
              <pc:sldMasterMk cId="3689281850" sldId="2147483648"/>
              <pc:sldLayoutMk cId="3377323260" sldId="2147483699"/>
              <ac:spMk id="9" creationId="{3A149770-B70E-9FEA-6657-938E2B131F5A}"/>
            </ac:spMkLst>
          </pc:spChg>
          <pc:spChg chg="mod">
            <ac:chgData name="Florian Baumann" userId="dbda361c-4caf-402c-ab43-225840f05745" providerId="ADAL" clId="{371CE3CC-8CD0-F643-8A83-A33D6F10CCF1}" dt="2023-10-11T15:10:58.313" v="48" actId="207"/>
            <ac:spMkLst>
              <pc:docMk/>
              <pc:sldMasterMk cId="3689281850" sldId="2147483648"/>
              <pc:sldLayoutMk cId="3377323260" sldId="2147483699"/>
              <ac:spMk id="10" creationId="{F412FC0A-0316-4A1C-BDD0-D09FFD5AAC26}"/>
            </ac:spMkLst>
          </pc:spChg>
        </pc:sldLayoutChg>
        <pc:sldLayoutChg chg="addSp delSp modSp mod">
          <pc:chgData name="Florian Baumann" userId="dbda361c-4caf-402c-ab43-225840f05745" providerId="ADAL" clId="{371CE3CC-8CD0-F643-8A83-A33D6F10CCF1}" dt="2023-10-11T15:11:27.768" v="51"/>
          <pc:sldLayoutMkLst>
            <pc:docMk/>
            <pc:sldMasterMk cId="3689281850" sldId="2147483648"/>
            <pc:sldLayoutMk cId="3458689018" sldId="2147483714"/>
          </pc:sldLayoutMkLst>
          <pc:spChg chg="add mod">
            <ac:chgData name="Florian Baumann" userId="dbda361c-4caf-402c-ab43-225840f05745" providerId="ADAL" clId="{371CE3CC-8CD0-F643-8A83-A33D6F10CCF1}" dt="2023-10-11T15:06:02.156" v="38" actId="207"/>
            <ac:spMkLst>
              <pc:docMk/>
              <pc:sldMasterMk cId="3689281850" sldId="2147483648"/>
              <pc:sldLayoutMk cId="3458689018" sldId="2147483714"/>
              <ac:spMk id="4" creationId="{68D6E5CB-C62B-7073-A1A1-A52C5407CD20}"/>
            </ac:spMkLst>
          </pc:spChg>
          <pc:spChg chg="add del mod">
            <ac:chgData name="Florian Baumann" userId="dbda361c-4caf-402c-ab43-225840f05745" providerId="ADAL" clId="{371CE3CC-8CD0-F643-8A83-A33D6F10CCF1}" dt="2023-10-11T15:10:11.373" v="43"/>
            <ac:spMkLst>
              <pc:docMk/>
              <pc:sldMasterMk cId="3689281850" sldId="2147483648"/>
              <pc:sldLayoutMk cId="3458689018" sldId="2147483714"/>
              <ac:spMk id="5" creationId="{CEF6BC03-A1BA-875C-A97E-D295808DFA5B}"/>
            </ac:spMkLst>
          </pc:spChg>
          <pc:spChg chg="add del mod">
            <ac:chgData name="Florian Baumann" userId="dbda361c-4caf-402c-ab43-225840f05745" providerId="ADAL" clId="{371CE3CC-8CD0-F643-8A83-A33D6F10CCF1}" dt="2023-10-11T15:10:24.035" v="45"/>
            <ac:spMkLst>
              <pc:docMk/>
              <pc:sldMasterMk cId="3689281850" sldId="2147483648"/>
              <pc:sldLayoutMk cId="3458689018" sldId="2147483714"/>
              <ac:spMk id="6" creationId="{2406039B-BF4C-DA35-7479-7329F777C7AB}"/>
            </ac:spMkLst>
          </pc:spChg>
          <pc:picChg chg="del">
            <ac:chgData name="Florian Baumann" userId="dbda361c-4caf-402c-ab43-225840f05745" providerId="ADAL" clId="{371CE3CC-8CD0-F643-8A83-A33D6F10CCF1}" dt="2023-10-11T15:10:06.839" v="41" actId="478"/>
            <ac:picMkLst>
              <pc:docMk/>
              <pc:sldMasterMk cId="3689281850" sldId="2147483648"/>
              <pc:sldLayoutMk cId="3458689018" sldId="2147483714"/>
              <ac:picMk id="7" creationId="{B47D1616-1471-A87B-EDA5-8D1D0AA6DAA0}"/>
            </ac:picMkLst>
          </pc:picChg>
          <pc:picChg chg="add mod">
            <ac:chgData name="Florian Baumann" userId="dbda361c-4caf-402c-ab43-225840f05745" providerId="ADAL" clId="{371CE3CC-8CD0-F643-8A83-A33D6F10CCF1}" dt="2023-10-11T15:11:27.768" v="51"/>
            <ac:picMkLst>
              <pc:docMk/>
              <pc:sldMasterMk cId="3689281850" sldId="2147483648"/>
              <pc:sldLayoutMk cId="3458689018" sldId="2147483714"/>
              <ac:picMk id="8" creationId="{574DC6C8-66B1-8EE0-DD54-FC4A7B2AEAB7}"/>
            </ac:picMkLst>
          </pc:picChg>
        </pc:sldLayoutChg>
        <pc:sldLayoutChg chg="addSp modSp mod">
          <pc:chgData name="Florian Baumann" userId="dbda361c-4caf-402c-ab43-225840f05745" providerId="ADAL" clId="{371CE3CC-8CD0-F643-8A83-A33D6F10CCF1}" dt="2023-10-11T15:11:22.917" v="50" actId="1076"/>
          <pc:sldLayoutMkLst>
            <pc:docMk/>
            <pc:sldMasterMk cId="3689281850" sldId="2147483648"/>
            <pc:sldLayoutMk cId="744806608" sldId="2147483717"/>
          </pc:sldLayoutMkLst>
          <pc:spChg chg="mod">
            <ac:chgData name="Florian Baumann" userId="dbda361c-4caf-402c-ab43-225840f05745" providerId="ADAL" clId="{371CE3CC-8CD0-F643-8A83-A33D6F10CCF1}" dt="2023-10-11T15:11:22.917" v="50" actId="1076"/>
            <ac:spMkLst>
              <pc:docMk/>
              <pc:sldMasterMk cId="3689281850" sldId="2147483648"/>
              <pc:sldLayoutMk cId="744806608" sldId="2147483717"/>
              <ac:spMk id="3" creationId="{C5A9A7BD-3783-7000-3F5D-E4C1457B99B0}"/>
            </ac:spMkLst>
          </pc:spChg>
          <pc:picChg chg="add mod">
            <ac:chgData name="Florian Baumann" userId="dbda361c-4caf-402c-ab43-225840f05745" providerId="ADAL" clId="{371CE3CC-8CD0-F643-8A83-A33D6F10CCF1}" dt="2023-10-11T14:58:23.078" v="31"/>
            <ac:picMkLst>
              <pc:docMk/>
              <pc:sldMasterMk cId="3689281850" sldId="2147483648"/>
              <pc:sldLayoutMk cId="744806608" sldId="2147483717"/>
              <ac:picMk id="6" creationId="{79FE219C-198F-1C6B-6308-3D147752383C}"/>
            </ac:picMkLst>
          </pc:picChg>
        </pc:sldLayoutChg>
      </pc:sldMasterChg>
    </pc:docChg>
  </pc:docChgLst>
  <pc:docChgLst>
    <pc:chgData name="Luis Moßburger" userId="2a606c2b-1031-4842-b567-351303c62b15" providerId="ADAL" clId="{074C13F4-5714-3343-8842-B2CAB59C4423}"/>
    <pc:docChg chg="undo redo custSel addSld delSld modSld sldOrd addSection delSection modSection">
      <pc:chgData name="Luis Moßburger" userId="2a606c2b-1031-4842-b567-351303c62b15" providerId="ADAL" clId="{074C13F4-5714-3343-8842-B2CAB59C4423}" dt="2024-01-09T06:55:38.166" v="5441" actId="12789"/>
      <pc:docMkLst>
        <pc:docMk/>
      </pc:docMkLst>
      <pc:sldChg chg="addSp delSp modSp add del mod ord">
        <pc:chgData name="Luis Moßburger" userId="2a606c2b-1031-4842-b567-351303c62b15" providerId="ADAL" clId="{074C13F4-5714-3343-8842-B2CAB59C4423}" dt="2023-11-05T17:54:37.373" v="3501" actId="2696"/>
        <pc:sldMkLst>
          <pc:docMk/>
          <pc:sldMk cId="2842974748" sldId="302"/>
        </pc:sldMkLst>
        <pc:spChg chg="add mod">
          <ac:chgData name="Luis Moßburger" userId="2a606c2b-1031-4842-b567-351303c62b15" providerId="ADAL" clId="{074C13F4-5714-3343-8842-B2CAB59C4423}" dt="2023-11-05T17:53:11.222" v="3483" actId="478"/>
          <ac:spMkLst>
            <pc:docMk/>
            <pc:sldMk cId="2842974748" sldId="302"/>
            <ac:spMk id="8" creationId="{C9EEC41A-855F-2370-43A7-AB7FFF63F028}"/>
          </ac:spMkLst>
        </pc:spChg>
        <pc:picChg chg="del">
          <ac:chgData name="Luis Moßburger" userId="2a606c2b-1031-4842-b567-351303c62b15" providerId="ADAL" clId="{074C13F4-5714-3343-8842-B2CAB59C4423}" dt="2023-11-05T17:53:11.222" v="3483" actId="478"/>
          <ac:picMkLst>
            <pc:docMk/>
            <pc:sldMk cId="2842974748" sldId="302"/>
            <ac:picMk id="9" creationId="{B90FB61B-C95D-65F7-31E8-6A9996ED0022}"/>
          </ac:picMkLst>
        </pc:picChg>
      </pc:sldChg>
      <pc:sldChg chg="add del">
        <pc:chgData name="Luis Moßburger" userId="2a606c2b-1031-4842-b567-351303c62b15" providerId="ADAL" clId="{074C13F4-5714-3343-8842-B2CAB59C4423}" dt="2023-11-05T15:50:51.922" v="1248" actId="2696"/>
        <pc:sldMkLst>
          <pc:docMk/>
          <pc:sldMk cId="2093965836" sldId="303"/>
        </pc:sldMkLst>
      </pc:sldChg>
      <pc:sldChg chg="add del">
        <pc:chgData name="Luis Moßburger" userId="2a606c2b-1031-4842-b567-351303c62b15" providerId="ADAL" clId="{074C13F4-5714-3343-8842-B2CAB59C4423}" dt="2023-11-05T18:03:12.723" v="4010" actId="2696"/>
        <pc:sldMkLst>
          <pc:docMk/>
          <pc:sldMk cId="917478113" sldId="305"/>
        </pc:sldMkLst>
      </pc:sldChg>
      <pc:sldChg chg="add del">
        <pc:chgData name="Luis Moßburger" userId="2a606c2b-1031-4842-b567-351303c62b15" providerId="ADAL" clId="{074C13F4-5714-3343-8842-B2CAB59C4423}" dt="2023-11-05T17:38:07.118" v="2900" actId="2696"/>
        <pc:sldMkLst>
          <pc:docMk/>
          <pc:sldMk cId="1760741923" sldId="308"/>
        </pc:sldMkLst>
      </pc:sldChg>
      <pc:sldChg chg="addSp delSp modSp add mod">
        <pc:chgData name="Luis Moßburger" userId="2a606c2b-1031-4842-b567-351303c62b15" providerId="ADAL" clId="{074C13F4-5714-3343-8842-B2CAB59C4423}" dt="2024-01-09T06:55:38.166" v="5441" actId="12789"/>
        <pc:sldMkLst>
          <pc:docMk/>
          <pc:sldMk cId="3841652053" sldId="334"/>
        </pc:sldMkLst>
        <pc:spChg chg="mod">
          <ac:chgData name="Luis Moßburger" userId="2a606c2b-1031-4842-b567-351303c62b15" providerId="ADAL" clId="{074C13F4-5714-3343-8842-B2CAB59C4423}" dt="2023-11-05T17:27:41.258" v="2821" actId="20577"/>
          <ac:spMkLst>
            <pc:docMk/>
            <pc:sldMk cId="3841652053" sldId="334"/>
            <ac:spMk id="7" creationId="{BE42361A-F3BD-4CBA-80E8-876B421A26E0}"/>
          </ac:spMkLst>
        </pc:spChg>
        <pc:spChg chg="add mod">
          <ac:chgData name="Luis Moßburger" userId="2a606c2b-1031-4842-b567-351303c62b15" providerId="ADAL" clId="{074C13F4-5714-3343-8842-B2CAB59C4423}" dt="2024-01-09T06:55:38.166" v="5441" actId="12789"/>
          <ac:spMkLst>
            <pc:docMk/>
            <pc:sldMk cId="3841652053" sldId="334"/>
            <ac:spMk id="10" creationId="{1C120847-4C31-0B2C-C2C6-A9270A3040E7}"/>
          </ac:spMkLst>
        </pc:spChg>
        <pc:spChg chg="del">
          <ac:chgData name="Luis Moßburger" userId="2a606c2b-1031-4842-b567-351303c62b15" providerId="ADAL" clId="{074C13F4-5714-3343-8842-B2CAB59C4423}" dt="2024-01-04T07:07:05.036" v="4978" actId="478"/>
          <ac:spMkLst>
            <pc:docMk/>
            <pc:sldMk cId="3841652053" sldId="334"/>
            <ac:spMk id="10" creationId="{C857A4A4-B083-F818-A05C-6E7725005650}"/>
          </ac:spMkLst>
        </pc:spChg>
        <pc:spChg chg="mod">
          <ac:chgData name="Luis Moßburger" userId="2a606c2b-1031-4842-b567-351303c62b15" providerId="ADAL" clId="{074C13F4-5714-3343-8842-B2CAB59C4423}" dt="2024-01-09T06:50:42.905" v="5319" actId="12789"/>
          <ac:spMkLst>
            <pc:docMk/>
            <pc:sldMk cId="3841652053" sldId="334"/>
            <ac:spMk id="11" creationId="{7865A325-2FF7-EB48-12F7-94D33937787A}"/>
          </ac:spMkLst>
        </pc:spChg>
        <pc:spChg chg="mod">
          <ac:chgData name="Luis Moßburger" userId="2a606c2b-1031-4842-b567-351303c62b15" providerId="ADAL" clId="{074C13F4-5714-3343-8842-B2CAB59C4423}" dt="2024-01-09T06:50:42.905" v="5319" actId="12789"/>
          <ac:spMkLst>
            <pc:docMk/>
            <pc:sldMk cId="3841652053" sldId="334"/>
            <ac:spMk id="12" creationId="{1D1F87BE-D7F4-42C4-96F6-B7C1EA5ECA31}"/>
          </ac:spMkLst>
        </pc:spChg>
        <pc:spChg chg="mod">
          <ac:chgData name="Luis Moßburger" userId="2a606c2b-1031-4842-b567-351303c62b15" providerId="ADAL" clId="{074C13F4-5714-3343-8842-B2CAB59C4423}" dt="2024-01-09T06:50:42.905" v="5319" actId="12789"/>
          <ac:spMkLst>
            <pc:docMk/>
            <pc:sldMk cId="3841652053" sldId="334"/>
            <ac:spMk id="13" creationId="{55CCE1FD-6735-EB62-3DCB-EC299FB33612}"/>
          </ac:spMkLst>
        </pc:spChg>
        <pc:spChg chg="add mod">
          <ac:chgData name="Luis Moßburger" userId="2a606c2b-1031-4842-b567-351303c62b15" providerId="ADAL" clId="{074C13F4-5714-3343-8842-B2CAB59C4423}" dt="2024-01-09T06:55:38.166" v="5441" actId="12789"/>
          <ac:spMkLst>
            <pc:docMk/>
            <pc:sldMk cId="3841652053" sldId="334"/>
            <ac:spMk id="15" creationId="{3F85B05C-6656-71CB-D314-0A2FC5964766}"/>
          </ac:spMkLst>
        </pc:spChg>
        <pc:spChg chg="add del">
          <ac:chgData name="Luis Moßburger" userId="2a606c2b-1031-4842-b567-351303c62b15" providerId="ADAL" clId="{074C13F4-5714-3343-8842-B2CAB59C4423}" dt="2024-01-09T06:52:30.084" v="5382" actId="478"/>
          <ac:spMkLst>
            <pc:docMk/>
            <pc:sldMk cId="3841652053" sldId="334"/>
            <ac:spMk id="17" creationId="{8DC112FA-C036-D66C-AA71-FEE7E7CCD8F0}"/>
          </ac:spMkLst>
        </pc:spChg>
        <pc:spChg chg="add mod">
          <ac:chgData name="Luis Moßburger" userId="2a606c2b-1031-4842-b567-351303c62b15" providerId="ADAL" clId="{074C13F4-5714-3343-8842-B2CAB59C4423}" dt="2024-01-09T06:55:38.166" v="5441" actId="12789"/>
          <ac:spMkLst>
            <pc:docMk/>
            <pc:sldMk cId="3841652053" sldId="334"/>
            <ac:spMk id="19" creationId="{6EA3EEB0-DFF7-54E5-9E0F-D95F3BFDB89B}"/>
          </ac:spMkLst>
        </pc:spChg>
        <pc:spChg chg="del mod">
          <ac:chgData name="Luis Moßburger" userId="2a606c2b-1031-4842-b567-351303c62b15" providerId="ADAL" clId="{074C13F4-5714-3343-8842-B2CAB59C4423}" dt="2024-01-04T07:37:33.718" v="5001" actId="478"/>
          <ac:spMkLst>
            <pc:docMk/>
            <pc:sldMk cId="3841652053" sldId="334"/>
            <ac:spMk id="25" creationId="{7D8918C2-631E-8413-7447-E5021F4AF540}"/>
          </ac:spMkLst>
        </pc:spChg>
        <pc:spChg chg="mod">
          <ac:chgData name="Luis Moßburger" userId="2a606c2b-1031-4842-b567-351303c62b15" providerId="ADAL" clId="{074C13F4-5714-3343-8842-B2CAB59C4423}" dt="2024-01-09T06:51:18.761" v="5333" actId="1036"/>
          <ac:spMkLst>
            <pc:docMk/>
            <pc:sldMk cId="3841652053" sldId="334"/>
            <ac:spMk id="27" creationId="{4937EC35-F7DF-D37F-9210-A9DDD1CC1CAB}"/>
          </ac:spMkLst>
        </pc:spChg>
        <pc:spChg chg="mod">
          <ac:chgData name="Luis Moßburger" userId="2a606c2b-1031-4842-b567-351303c62b15" providerId="ADAL" clId="{074C13F4-5714-3343-8842-B2CAB59C4423}" dt="2024-01-09T06:51:18.761" v="5333" actId="1036"/>
          <ac:spMkLst>
            <pc:docMk/>
            <pc:sldMk cId="3841652053" sldId="334"/>
            <ac:spMk id="28" creationId="{1FC97097-75F9-97B4-285B-4A3566002D82}"/>
          </ac:spMkLst>
        </pc:spChg>
        <pc:spChg chg="mod">
          <ac:chgData name="Luis Moßburger" userId="2a606c2b-1031-4842-b567-351303c62b15" providerId="ADAL" clId="{074C13F4-5714-3343-8842-B2CAB59C4423}" dt="2024-01-09T06:55:38.166" v="5441" actId="12789"/>
          <ac:spMkLst>
            <pc:docMk/>
            <pc:sldMk cId="3841652053" sldId="334"/>
            <ac:spMk id="29" creationId="{1DD11498-C3A8-8660-9975-E2EC6721D59A}"/>
          </ac:spMkLst>
        </pc:spChg>
        <pc:spChg chg="mod">
          <ac:chgData name="Luis Moßburger" userId="2a606c2b-1031-4842-b567-351303c62b15" providerId="ADAL" clId="{074C13F4-5714-3343-8842-B2CAB59C4423}" dt="2024-01-09T06:51:18.761" v="5333" actId="1036"/>
          <ac:spMkLst>
            <pc:docMk/>
            <pc:sldMk cId="3841652053" sldId="334"/>
            <ac:spMk id="30" creationId="{7B930138-B99F-2308-8F50-15FA565A83ED}"/>
          </ac:spMkLst>
        </pc:spChg>
        <pc:spChg chg="mod">
          <ac:chgData name="Luis Moßburger" userId="2a606c2b-1031-4842-b567-351303c62b15" providerId="ADAL" clId="{074C13F4-5714-3343-8842-B2CAB59C4423}" dt="2024-01-09T06:50:42.905" v="5319" actId="12789"/>
          <ac:spMkLst>
            <pc:docMk/>
            <pc:sldMk cId="3841652053" sldId="334"/>
            <ac:spMk id="32" creationId="{BFC5D80A-3BE3-1C52-6007-92EBC85F2574}"/>
          </ac:spMkLst>
        </pc:spChg>
        <pc:spChg chg="del mod">
          <ac:chgData name="Luis Moßburger" userId="2a606c2b-1031-4842-b567-351303c62b15" providerId="ADAL" clId="{074C13F4-5714-3343-8842-B2CAB59C4423}" dt="2024-01-04T07:45:34.387" v="5025" actId="478"/>
          <ac:spMkLst>
            <pc:docMk/>
            <pc:sldMk cId="3841652053" sldId="334"/>
            <ac:spMk id="34" creationId="{7A55A28A-4932-E44F-87E7-5DA8C687C940}"/>
          </ac:spMkLst>
        </pc:spChg>
        <pc:picChg chg="mod">
          <ac:chgData name="Luis Moßburger" userId="2a606c2b-1031-4842-b567-351303c62b15" providerId="ADAL" clId="{074C13F4-5714-3343-8842-B2CAB59C4423}" dt="2024-01-09T06:50:42.905" v="5319" actId="12789"/>
          <ac:picMkLst>
            <pc:docMk/>
            <pc:sldMk cId="3841652053" sldId="334"/>
            <ac:picMk id="8" creationId="{AE6BB5AE-FF74-FA81-495D-44B715E509DF}"/>
          </ac:picMkLst>
        </pc:picChg>
        <pc:picChg chg="add del mod">
          <ac:chgData name="Luis Moßburger" userId="2a606c2b-1031-4842-b567-351303c62b15" providerId="ADAL" clId="{074C13F4-5714-3343-8842-B2CAB59C4423}" dt="2024-01-04T07:35:05.243" v="4984" actId="478"/>
          <ac:picMkLst>
            <pc:docMk/>
            <pc:sldMk cId="3841652053" sldId="334"/>
            <ac:picMk id="14" creationId="{A74A474B-7EA9-8545-C6F6-15CD6E87013A}"/>
          </ac:picMkLst>
        </pc:picChg>
        <pc:picChg chg="add mod modCrop">
          <ac:chgData name="Luis Moßburger" userId="2a606c2b-1031-4842-b567-351303c62b15" providerId="ADAL" clId="{074C13F4-5714-3343-8842-B2CAB59C4423}" dt="2024-01-09T06:50:42.905" v="5319" actId="12789"/>
          <ac:picMkLst>
            <pc:docMk/>
            <pc:sldMk cId="3841652053" sldId="334"/>
            <ac:picMk id="14" creationId="{BFCB8354-0EA7-A061-BCA8-D56B3C734BAC}"/>
          </ac:picMkLst>
        </pc:picChg>
        <pc:picChg chg="add del mod">
          <ac:chgData name="Luis Moßburger" userId="2a606c2b-1031-4842-b567-351303c62b15" providerId="ADAL" clId="{074C13F4-5714-3343-8842-B2CAB59C4423}" dt="2024-01-09T06:52:54.879" v="5385" actId="478"/>
          <ac:picMkLst>
            <pc:docMk/>
            <pc:sldMk cId="3841652053" sldId="334"/>
            <ac:picMk id="18" creationId="{E17DDB8E-8368-9A89-ACE3-C52A0813FC98}"/>
          </ac:picMkLst>
        </pc:picChg>
        <pc:picChg chg="mod">
          <ac:chgData name="Luis Moßburger" userId="2a606c2b-1031-4842-b567-351303c62b15" providerId="ADAL" clId="{074C13F4-5714-3343-8842-B2CAB59C4423}" dt="2024-01-09T06:51:18.761" v="5333" actId="1036"/>
          <ac:picMkLst>
            <pc:docMk/>
            <pc:sldMk cId="3841652053" sldId="334"/>
            <ac:picMk id="21" creationId="{3DFE69C6-7615-F259-1869-C13789D718F9}"/>
          </ac:picMkLst>
        </pc:picChg>
        <pc:picChg chg="mod">
          <ac:chgData name="Luis Moßburger" userId="2a606c2b-1031-4842-b567-351303c62b15" providerId="ADAL" clId="{074C13F4-5714-3343-8842-B2CAB59C4423}" dt="2024-01-09T06:51:18.761" v="5333" actId="1036"/>
          <ac:picMkLst>
            <pc:docMk/>
            <pc:sldMk cId="3841652053" sldId="334"/>
            <ac:picMk id="22" creationId="{804BF7BE-D8FF-C755-D1AD-193E327BF3A5}"/>
          </ac:picMkLst>
        </pc:picChg>
        <pc:picChg chg="mod">
          <ac:chgData name="Luis Moßburger" userId="2a606c2b-1031-4842-b567-351303c62b15" providerId="ADAL" clId="{074C13F4-5714-3343-8842-B2CAB59C4423}" dt="2024-01-09T06:51:18.761" v="5333" actId="1036"/>
          <ac:picMkLst>
            <pc:docMk/>
            <pc:sldMk cId="3841652053" sldId="334"/>
            <ac:picMk id="23" creationId="{BDC44C5F-9355-E4B0-AE1B-FCEA9AD3AD12}"/>
          </ac:picMkLst>
        </pc:picChg>
        <pc:picChg chg="add mod">
          <ac:chgData name="Luis Moßburger" userId="2a606c2b-1031-4842-b567-351303c62b15" providerId="ADAL" clId="{074C13F4-5714-3343-8842-B2CAB59C4423}" dt="2024-01-09T06:55:38.166" v="5441" actId="12789"/>
          <ac:picMkLst>
            <pc:docMk/>
            <pc:sldMk cId="3841652053" sldId="334"/>
            <ac:picMk id="1026" creationId="{91A399B0-1D1C-AF7E-131C-3D225D8FD0C5}"/>
          </ac:picMkLst>
        </pc:picChg>
        <pc:picChg chg="add del mod">
          <ac:chgData name="Luis Moßburger" userId="2a606c2b-1031-4842-b567-351303c62b15" providerId="ADAL" clId="{074C13F4-5714-3343-8842-B2CAB59C4423}" dt="2024-01-05T09:57:18.150" v="5317" actId="478"/>
          <ac:picMkLst>
            <pc:docMk/>
            <pc:sldMk cId="3841652053" sldId="334"/>
            <ac:picMk id="1026" creationId="{9404DB37-5A76-3256-BA05-05CC9E02CE30}"/>
          </ac:picMkLst>
        </pc:picChg>
        <pc:picChg chg="del mod">
          <ac:chgData name="Luis Moßburger" userId="2a606c2b-1031-4842-b567-351303c62b15" providerId="ADAL" clId="{074C13F4-5714-3343-8842-B2CAB59C4423}" dt="2024-01-04T07:37:33.718" v="5001" actId="478"/>
          <ac:picMkLst>
            <pc:docMk/>
            <pc:sldMk cId="3841652053" sldId="334"/>
            <ac:picMk id="1026" creationId="{C406211B-9728-BEE1-48D9-7BA5E6A257D0}"/>
          </ac:picMkLst>
        </pc:picChg>
        <pc:picChg chg="mod">
          <ac:chgData name="Luis Moßburger" userId="2a606c2b-1031-4842-b567-351303c62b15" providerId="ADAL" clId="{074C13F4-5714-3343-8842-B2CAB59C4423}" dt="2024-01-09T06:55:38.166" v="5441" actId="12789"/>
          <ac:picMkLst>
            <pc:docMk/>
            <pc:sldMk cId="3841652053" sldId="334"/>
            <ac:picMk id="1027" creationId="{A976315F-7CFF-FE8B-AE21-CC8870AD9721}"/>
          </ac:picMkLst>
        </pc:picChg>
      </pc:sldChg>
      <pc:sldChg chg="delSp add mod modTransition delAnim modNotesTx">
        <pc:chgData name="Luis Moßburger" userId="2a606c2b-1031-4842-b567-351303c62b15" providerId="ADAL" clId="{074C13F4-5714-3343-8842-B2CAB59C4423}" dt="2023-11-05T16:49:57.418" v="2103" actId="20577"/>
        <pc:sldMkLst>
          <pc:docMk/>
          <pc:sldMk cId="2693242410" sldId="2147375348"/>
        </pc:sldMkLst>
        <pc:grpChg chg="del">
          <ac:chgData name="Luis Moßburger" userId="2a606c2b-1031-4842-b567-351303c62b15" providerId="ADAL" clId="{074C13F4-5714-3343-8842-B2CAB59C4423}" dt="2023-11-05T16:49:21.680" v="2100" actId="478"/>
          <ac:grpSpMkLst>
            <pc:docMk/>
            <pc:sldMk cId="2693242410" sldId="2147375348"/>
            <ac:grpSpMk id="8" creationId="{3455C56B-7DB0-6EED-860D-8DC873383366}"/>
          </ac:grpSpMkLst>
        </pc:grpChg>
        <pc:grpChg chg="del">
          <ac:chgData name="Luis Moßburger" userId="2a606c2b-1031-4842-b567-351303c62b15" providerId="ADAL" clId="{074C13F4-5714-3343-8842-B2CAB59C4423}" dt="2023-11-05T16:49:22.926" v="2101" actId="478"/>
          <ac:grpSpMkLst>
            <pc:docMk/>
            <pc:sldMk cId="2693242410" sldId="2147375348"/>
            <ac:grpSpMk id="28" creationId="{B5D572D6-AB36-0CE1-19DB-3EF0770E7292}"/>
          </ac:grpSpMkLst>
        </pc:grpChg>
      </pc:sldChg>
      <pc:sldChg chg="delSp modSp add mod modTransition modNotesTx">
        <pc:chgData name="Luis Moßburger" userId="2a606c2b-1031-4842-b567-351303c62b15" providerId="ADAL" clId="{074C13F4-5714-3343-8842-B2CAB59C4423}" dt="2023-11-05T16:56:22.310" v="2121" actId="14100"/>
        <pc:sldMkLst>
          <pc:docMk/>
          <pc:sldMk cId="1318642480" sldId="2147375349"/>
        </pc:sldMkLst>
        <pc:spChg chg="mod">
          <ac:chgData name="Luis Moßburger" userId="2a606c2b-1031-4842-b567-351303c62b15" providerId="ADAL" clId="{074C13F4-5714-3343-8842-B2CAB59C4423}" dt="2023-11-05T16:56:22.310" v="2121" actId="14100"/>
          <ac:spMkLst>
            <pc:docMk/>
            <pc:sldMk cId="1318642480" sldId="2147375349"/>
            <ac:spMk id="9" creationId="{9FAE3820-3CFD-FCA2-76A9-DB73385E17EB}"/>
          </ac:spMkLst>
        </pc:spChg>
        <pc:spChg chg="mod">
          <ac:chgData name="Luis Moßburger" userId="2a606c2b-1031-4842-b567-351303c62b15" providerId="ADAL" clId="{074C13F4-5714-3343-8842-B2CAB59C4423}" dt="2023-11-05T16:55:49.582" v="2118" actId="20577"/>
          <ac:spMkLst>
            <pc:docMk/>
            <pc:sldMk cId="1318642480" sldId="2147375349"/>
            <ac:spMk id="16" creationId="{6E036B95-BE77-B287-785D-0763D60EEF5E}"/>
          </ac:spMkLst>
        </pc:spChg>
        <pc:grpChg chg="del">
          <ac:chgData name="Luis Moßburger" userId="2a606c2b-1031-4842-b567-351303c62b15" providerId="ADAL" clId="{074C13F4-5714-3343-8842-B2CAB59C4423}" dt="2023-11-05T16:50:16.189" v="2107" actId="478"/>
          <ac:grpSpMkLst>
            <pc:docMk/>
            <pc:sldMk cId="1318642480" sldId="2147375349"/>
            <ac:grpSpMk id="8" creationId="{3455C56B-7DB0-6EED-860D-8DC873383366}"/>
          </ac:grpSpMkLst>
        </pc:grpChg>
        <pc:grpChg chg="del">
          <ac:chgData name="Luis Moßburger" userId="2a606c2b-1031-4842-b567-351303c62b15" providerId="ADAL" clId="{074C13F4-5714-3343-8842-B2CAB59C4423}" dt="2023-11-05T16:50:14.480" v="2106" actId="478"/>
          <ac:grpSpMkLst>
            <pc:docMk/>
            <pc:sldMk cId="1318642480" sldId="2147375349"/>
            <ac:grpSpMk id="52" creationId="{001F4B50-F365-A60E-6A8E-AE6EC935E093}"/>
          </ac:grpSpMkLst>
        </pc:grpChg>
      </pc:sldChg>
      <pc:sldChg chg="addSp delSp modSp add mod modTransition modClrScheme modAnim chgLayout">
        <pc:chgData name="Luis Moßburger" userId="2a606c2b-1031-4842-b567-351303c62b15" providerId="ADAL" clId="{074C13F4-5714-3343-8842-B2CAB59C4423}" dt="2023-11-05T16:07:20.588" v="1514" actId="20577"/>
        <pc:sldMkLst>
          <pc:docMk/>
          <pc:sldMk cId="408761079" sldId="2147375351"/>
        </pc:sldMkLst>
        <pc:spChg chg="add del mod ord">
          <ac:chgData name="Luis Moßburger" userId="2a606c2b-1031-4842-b567-351303c62b15" providerId="ADAL" clId="{074C13F4-5714-3343-8842-B2CAB59C4423}" dt="2023-11-05T15:40:54.442" v="476" actId="700"/>
          <ac:spMkLst>
            <pc:docMk/>
            <pc:sldMk cId="408761079" sldId="2147375351"/>
            <ac:spMk id="3" creationId="{EAFBAD30-5AA5-39EB-89F0-AAD12AF184F1}"/>
          </ac:spMkLst>
        </pc:spChg>
        <pc:spChg chg="add del mod ord">
          <ac:chgData name="Luis Moßburger" userId="2a606c2b-1031-4842-b567-351303c62b15" providerId="ADAL" clId="{074C13F4-5714-3343-8842-B2CAB59C4423}" dt="2023-11-05T15:40:59.908" v="477" actId="700"/>
          <ac:spMkLst>
            <pc:docMk/>
            <pc:sldMk cId="408761079" sldId="2147375351"/>
            <ac:spMk id="4" creationId="{67D9346C-4B66-9D5E-4D0C-5EA42D06928D}"/>
          </ac:spMkLst>
        </pc:spChg>
        <pc:spChg chg="del">
          <ac:chgData name="Luis Moßburger" userId="2a606c2b-1031-4842-b567-351303c62b15" providerId="ADAL" clId="{074C13F4-5714-3343-8842-B2CAB59C4423}" dt="2023-11-05T15:38:07.686" v="448" actId="478"/>
          <ac:spMkLst>
            <pc:docMk/>
            <pc:sldMk cId="408761079" sldId="2147375351"/>
            <ac:spMk id="5" creationId="{50AAAE78-F515-F429-74B4-5993589C9293}"/>
          </ac:spMkLst>
        </pc:spChg>
        <pc:spChg chg="add del mod ord">
          <ac:chgData name="Luis Moßburger" userId="2a606c2b-1031-4842-b567-351303c62b15" providerId="ADAL" clId="{074C13F4-5714-3343-8842-B2CAB59C4423}" dt="2023-11-05T15:40:59.908" v="477" actId="700"/>
          <ac:spMkLst>
            <pc:docMk/>
            <pc:sldMk cId="408761079" sldId="2147375351"/>
            <ac:spMk id="9" creationId="{0A07A7D8-63F0-5AF1-507F-A7C99350D1C3}"/>
          </ac:spMkLst>
        </pc:spChg>
        <pc:spChg chg="add del mod ord">
          <ac:chgData name="Luis Moßburger" userId="2a606c2b-1031-4842-b567-351303c62b15" providerId="ADAL" clId="{074C13F4-5714-3343-8842-B2CAB59C4423}" dt="2023-11-05T15:41:23.656" v="481" actId="478"/>
          <ac:spMkLst>
            <pc:docMk/>
            <pc:sldMk cId="408761079" sldId="2147375351"/>
            <ac:spMk id="10" creationId="{FB65A614-A342-19BF-0DA4-249FEA8289AA}"/>
          </ac:spMkLst>
        </pc:spChg>
        <pc:spChg chg="add mod">
          <ac:chgData name="Luis Moßburger" userId="2a606c2b-1031-4842-b567-351303c62b15" providerId="ADAL" clId="{074C13F4-5714-3343-8842-B2CAB59C4423}" dt="2023-11-05T15:41:21.922" v="480" actId="2085"/>
          <ac:spMkLst>
            <pc:docMk/>
            <pc:sldMk cId="408761079" sldId="2147375351"/>
            <ac:spMk id="11" creationId="{975122AF-BB9D-B0E1-FC4E-5831B5F31E29}"/>
          </ac:spMkLst>
        </pc:spChg>
        <pc:spChg chg="mod">
          <ac:chgData name="Luis Moßburger" userId="2a606c2b-1031-4842-b567-351303c62b15" providerId="ADAL" clId="{074C13F4-5714-3343-8842-B2CAB59C4423}" dt="2023-11-05T16:07:20.588" v="1514" actId="20577"/>
          <ac:spMkLst>
            <pc:docMk/>
            <pc:sldMk cId="408761079" sldId="2147375351"/>
            <ac:spMk id="23" creationId="{82383DBB-32A0-79A9-FD56-2572E277CD03}"/>
          </ac:spMkLst>
        </pc:spChg>
        <pc:picChg chg="del">
          <ac:chgData name="Luis Moßburger" userId="2a606c2b-1031-4842-b567-351303c62b15" providerId="ADAL" clId="{074C13F4-5714-3343-8842-B2CAB59C4423}" dt="2023-11-05T15:38:09.451" v="449" actId="478"/>
          <ac:picMkLst>
            <pc:docMk/>
            <pc:sldMk cId="408761079" sldId="2147375351"/>
            <ac:picMk id="8" creationId="{4E628A00-78E7-3790-3E74-B6100354DF1B}"/>
          </ac:picMkLst>
        </pc:picChg>
      </pc:sldChg>
      <pc:sldChg chg="addSp delSp modSp add mod ord delAnim modAnim">
        <pc:chgData name="Luis Moßburger" userId="2a606c2b-1031-4842-b567-351303c62b15" providerId="ADAL" clId="{074C13F4-5714-3343-8842-B2CAB59C4423}" dt="2023-11-05T16:46:38.142" v="2098" actId="1076"/>
        <pc:sldMkLst>
          <pc:docMk/>
          <pc:sldMk cId="4067000183" sldId="2147375353"/>
        </pc:sldMkLst>
        <pc:spChg chg="add del mod">
          <ac:chgData name="Luis Moßburger" userId="2a606c2b-1031-4842-b567-351303c62b15" providerId="ADAL" clId="{074C13F4-5714-3343-8842-B2CAB59C4423}" dt="2023-11-05T16:45:50.535" v="2089" actId="478"/>
          <ac:spMkLst>
            <pc:docMk/>
            <pc:sldMk cId="4067000183" sldId="2147375353"/>
            <ac:spMk id="3" creationId="{F3CDF1E2-4FAB-7D6C-6483-2DADB0CAE7A8}"/>
          </ac:spMkLst>
        </pc:spChg>
        <pc:spChg chg="mod">
          <ac:chgData name="Luis Moßburger" userId="2a606c2b-1031-4842-b567-351303c62b15" providerId="ADAL" clId="{074C13F4-5714-3343-8842-B2CAB59C4423}" dt="2023-11-05T16:01:31.935" v="1270" actId="14100"/>
          <ac:spMkLst>
            <pc:docMk/>
            <pc:sldMk cId="4067000183" sldId="2147375353"/>
            <ac:spMk id="5" creationId="{50AAAE78-F515-F429-74B4-5993589C9293}"/>
          </ac:spMkLst>
        </pc:spChg>
        <pc:grpChg chg="del mod">
          <ac:chgData name="Luis Moßburger" userId="2a606c2b-1031-4842-b567-351303c62b15" providerId="ADAL" clId="{074C13F4-5714-3343-8842-B2CAB59C4423}" dt="2023-11-05T16:06:04.516" v="1505" actId="478"/>
          <ac:grpSpMkLst>
            <pc:docMk/>
            <pc:sldMk cId="4067000183" sldId="2147375353"/>
            <ac:grpSpMk id="15" creationId="{CA051DA9-70F7-74B1-53CC-1AC328631D89}"/>
          </ac:grpSpMkLst>
        </pc:grpChg>
        <pc:grpChg chg="del mod">
          <ac:chgData name="Luis Moßburger" userId="2a606c2b-1031-4842-b567-351303c62b15" providerId="ADAL" clId="{074C13F4-5714-3343-8842-B2CAB59C4423}" dt="2023-11-05T16:06:04.516" v="1505" actId="478"/>
          <ac:grpSpMkLst>
            <pc:docMk/>
            <pc:sldMk cId="4067000183" sldId="2147375353"/>
            <ac:grpSpMk id="16" creationId="{4F519ACB-0047-1614-D00E-A2AC489B6029}"/>
          </ac:grpSpMkLst>
        </pc:grpChg>
        <pc:grpChg chg="del mod">
          <ac:chgData name="Luis Moßburger" userId="2a606c2b-1031-4842-b567-351303c62b15" providerId="ADAL" clId="{074C13F4-5714-3343-8842-B2CAB59C4423}" dt="2023-11-05T16:06:04.516" v="1505" actId="478"/>
          <ac:grpSpMkLst>
            <pc:docMk/>
            <pc:sldMk cId="4067000183" sldId="2147375353"/>
            <ac:grpSpMk id="17" creationId="{8828BD9F-A043-B755-5050-0B6DD19FDDA4}"/>
          </ac:grpSpMkLst>
        </pc:grpChg>
        <pc:picChg chg="del">
          <ac:chgData name="Luis Moßburger" userId="2a606c2b-1031-4842-b567-351303c62b15" providerId="ADAL" clId="{074C13F4-5714-3343-8842-B2CAB59C4423}" dt="2023-11-05T16:01:25.920" v="1269" actId="478"/>
          <ac:picMkLst>
            <pc:docMk/>
            <pc:sldMk cId="4067000183" sldId="2147375353"/>
            <ac:picMk id="7" creationId="{97934A73-403C-621D-B0B7-F50EA643A4B7}"/>
          </ac:picMkLst>
        </pc:picChg>
        <pc:picChg chg="mod modCrop">
          <ac:chgData name="Luis Moßburger" userId="2a606c2b-1031-4842-b567-351303c62b15" providerId="ADAL" clId="{074C13F4-5714-3343-8842-B2CAB59C4423}" dt="2023-11-05T16:46:38.142" v="2098" actId="1076"/>
          <ac:picMkLst>
            <pc:docMk/>
            <pc:sldMk cId="4067000183" sldId="2147375353"/>
            <ac:picMk id="8" creationId="{4E628A00-78E7-3790-3E74-B6100354DF1B}"/>
          </ac:picMkLst>
        </pc:picChg>
        <pc:picChg chg="del">
          <ac:chgData name="Luis Moßburger" userId="2a606c2b-1031-4842-b567-351303c62b15" providerId="ADAL" clId="{074C13F4-5714-3343-8842-B2CAB59C4423}" dt="2023-11-05T16:01:25.920" v="1269" actId="478"/>
          <ac:picMkLst>
            <pc:docMk/>
            <pc:sldMk cId="4067000183" sldId="2147375353"/>
            <ac:picMk id="23" creationId="{A800B420-E5DF-2CEE-5979-44C142C7A23A}"/>
          </ac:picMkLst>
        </pc:picChg>
        <pc:picChg chg="del">
          <ac:chgData name="Luis Moßburger" userId="2a606c2b-1031-4842-b567-351303c62b15" providerId="ADAL" clId="{074C13F4-5714-3343-8842-B2CAB59C4423}" dt="2023-11-05T16:01:25.920" v="1269" actId="478"/>
          <ac:picMkLst>
            <pc:docMk/>
            <pc:sldMk cId="4067000183" sldId="2147375353"/>
            <ac:picMk id="24" creationId="{9B66B5AD-8DC6-B65E-DA2A-61710F67A81A}"/>
          </ac:picMkLst>
        </pc:picChg>
        <pc:picChg chg="del">
          <ac:chgData name="Luis Moßburger" userId="2a606c2b-1031-4842-b567-351303c62b15" providerId="ADAL" clId="{074C13F4-5714-3343-8842-B2CAB59C4423}" dt="2023-11-05T16:01:25.920" v="1269" actId="478"/>
          <ac:picMkLst>
            <pc:docMk/>
            <pc:sldMk cId="4067000183" sldId="2147375353"/>
            <ac:picMk id="25" creationId="{EFCE54BC-4DAB-D308-1A10-5268BD492B31}"/>
          </ac:picMkLst>
        </pc:picChg>
        <pc:picChg chg="del">
          <ac:chgData name="Luis Moßburger" userId="2a606c2b-1031-4842-b567-351303c62b15" providerId="ADAL" clId="{074C13F4-5714-3343-8842-B2CAB59C4423}" dt="2023-11-05T16:01:25.920" v="1269" actId="478"/>
          <ac:picMkLst>
            <pc:docMk/>
            <pc:sldMk cId="4067000183" sldId="2147375353"/>
            <ac:picMk id="26" creationId="{67076562-2329-EC57-8EEE-6EB688A23534}"/>
          </ac:picMkLst>
        </pc:picChg>
        <pc:picChg chg="del">
          <ac:chgData name="Luis Moßburger" userId="2a606c2b-1031-4842-b567-351303c62b15" providerId="ADAL" clId="{074C13F4-5714-3343-8842-B2CAB59C4423}" dt="2023-11-05T16:01:25.920" v="1269" actId="478"/>
          <ac:picMkLst>
            <pc:docMk/>
            <pc:sldMk cId="4067000183" sldId="2147375353"/>
            <ac:picMk id="27" creationId="{F514A8AA-AE59-1E79-8DA0-DA00EA4BAB42}"/>
          </ac:picMkLst>
        </pc:picChg>
      </pc:sldChg>
      <pc:sldChg chg="add del">
        <pc:chgData name="Luis Moßburger" userId="2a606c2b-1031-4842-b567-351303c62b15" providerId="ADAL" clId="{074C13F4-5714-3343-8842-B2CAB59C4423}" dt="2023-11-05T18:07:14.023" v="4134" actId="2696"/>
        <pc:sldMkLst>
          <pc:docMk/>
          <pc:sldMk cId="51720953" sldId="2147375362"/>
        </pc:sldMkLst>
      </pc:sldChg>
      <pc:sldChg chg="modSp del mod">
        <pc:chgData name="Luis Moßburger" userId="2a606c2b-1031-4842-b567-351303c62b15" providerId="ADAL" clId="{074C13F4-5714-3343-8842-B2CAB59C4423}" dt="2023-11-05T15:35:39.992" v="431" actId="2696"/>
        <pc:sldMkLst>
          <pc:docMk/>
          <pc:sldMk cId="2113340326" sldId="2147375379"/>
        </pc:sldMkLst>
        <pc:spChg chg="mod">
          <ac:chgData name="Luis Moßburger" userId="2a606c2b-1031-4842-b567-351303c62b15" providerId="ADAL" clId="{074C13F4-5714-3343-8842-B2CAB59C4423}" dt="2023-11-05T15:33:20.775" v="427" actId="20577"/>
          <ac:spMkLst>
            <pc:docMk/>
            <pc:sldMk cId="2113340326" sldId="2147375379"/>
            <ac:spMk id="6" creationId="{B7A7FC78-53E4-F5A0-E41D-36AD038EF6F4}"/>
          </ac:spMkLst>
        </pc:spChg>
      </pc:sldChg>
      <pc:sldChg chg="del">
        <pc:chgData name="Luis Moßburger" userId="2a606c2b-1031-4842-b567-351303c62b15" providerId="ADAL" clId="{074C13F4-5714-3343-8842-B2CAB59C4423}" dt="2023-11-05T15:37:06.542" v="445" actId="2696"/>
        <pc:sldMkLst>
          <pc:docMk/>
          <pc:sldMk cId="1858073388" sldId="2147375381"/>
        </pc:sldMkLst>
      </pc:sldChg>
      <pc:sldChg chg="del">
        <pc:chgData name="Luis Moßburger" userId="2a606c2b-1031-4842-b567-351303c62b15" providerId="ADAL" clId="{074C13F4-5714-3343-8842-B2CAB59C4423}" dt="2023-11-05T15:36:55.484" v="442" actId="2696"/>
        <pc:sldMkLst>
          <pc:docMk/>
          <pc:sldMk cId="3628758409" sldId="2147375382"/>
        </pc:sldMkLst>
      </pc:sldChg>
      <pc:sldChg chg="del">
        <pc:chgData name="Luis Moßburger" userId="2a606c2b-1031-4842-b567-351303c62b15" providerId="ADAL" clId="{074C13F4-5714-3343-8842-B2CAB59C4423}" dt="2023-11-05T15:37:11.982" v="446" actId="2696"/>
        <pc:sldMkLst>
          <pc:docMk/>
          <pc:sldMk cId="2199465480" sldId="2147375383"/>
        </pc:sldMkLst>
      </pc:sldChg>
      <pc:sldChg chg="del">
        <pc:chgData name="Luis Moßburger" userId="2a606c2b-1031-4842-b567-351303c62b15" providerId="ADAL" clId="{074C13F4-5714-3343-8842-B2CAB59C4423}" dt="2023-11-05T15:35:41.867" v="432" actId="2696"/>
        <pc:sldMkLst>
          <pc:docMk/>
          <pc:sldMk cId="1833795839" sldId="2147375384"/>
        </pc:sldMkLst>
      </pc:sldChg>
      <pc:sldChg chg="modSp mod delCm">
        <pc:chgData name="Luis Moßburger" userId="2a606c2b-1031-4842-b567-351303c62b15" providerId="ADAL" clId="{074C13F4-5714-3343-8842-B2CAB59C4423}" dt="2023-11-05T17:48:50.164" v="3227" actId="2711"/>
        <pc:sldMkLst>
          <pc:docMk/>
          <pc:sldMk cId="4039138997" sldId="2147375385"/>
        </pc:sldMkLst>
        <pc:spChg chg="mod">
          <ac:chgData name="Luis Moßburger" userId="2a606c2b-1031-4842-b567-351303c62b15" providerId="ADAL" clId="{074C13F4-5714-3343-8842-B2CAB59C4423}" dt="2023-11-05T17:48:50.164" v="3227" actId="2711"/>
          <ac:spMkLst>
            <pc:docMk/>
            <pc:sldMk cId="4039138997" sldId="2147375385"/>
            <ac:spMk id="4" creationId="{9E969A4A-2CBB-E59D-6A51-0C59FEB8ADB2}"/>
          </ac:spMkLst>
        </pc:spChg>
        <pc:spChg chg="mod">
          <ac:chgData name="Luis Moßburger" userId="2a606c2b-1031-4842-b567-351303c62b15" providerId="ADAL" clId="{074C13F4-5714-3343-8842-B2CAB59C4423}" dt="2023-11-05T17:48:08.073" v="3221" actId="20577"/>
          <ac:spMkLst>
            <pc:docMk/>
            <pc:sldMk cId="4039138997" sldId="2147375385"/>
            <ac:spMk id="5" creationId="{E6AEBC61-E637-92B7-60CA-621CA03A2D03}"/>
          </ac:spMkLst>
        </pc:spChg>
        <pc:spChg chg="mod">
          <ac:chgData name="Luis Moßburger" userId="2a606c2b-1031-4842-b567-351303c62b15" providerId="ADAL" clId="{074C13F4-5714-3343-8842-B2CAB59C4423}" dt="2023-11-05T17:47:47.701" v="3218" actId="1035"/>
          <ac:spMkLst>
            <pc:docMk/>
            <pc:sldMk cId="4039138997" sldId="2147375385"/>
            <ac:spMk id="6" creationId="{67920211-9577-2889-9DFE-85B1ACCBFA69}"/>
          </ac:spMkLst>
        </pc:spChg>
        <pc:extLst>
          <p:ext xmlns:p="http://schemas.openxmlformats.org/presentationml/2006/main" uri="{D6D511B9-2390-475A-947B-AFAB55BFBCF1}">
            <pc226:cmChg xmlns:pc226="http://schemas.microsoft.com/office/powerpoint/2022/06/main/command" chg="del">
              <pc226:chgData name="Luis Moßburger" userId="2a606c2b-1031-4842-b567-351303c62b15" providerId="ADAL" clId="{074C13F4-5714-3343-8842-B2CAB59C4423}" dt="2023-11-05T15:33:33.618" v="428"/>
              <pc2:cmMkLst xmlns:pc2="http://schemas.microsoft.com/office/powerpoint/2019/9/main/command">
                <pc:docMk/>
                <pc:sldMk cId="4039138997" sldId="2147375385"/>
                <pc2:cmMk id="{7FA5B412-B814-8E4B-97F5-7AA57DEEDED3}"/>
              </pc2:cmMkLst>
            </pc226:cmChg>
          </p:ext>
        </pc:extLst>
      </pc:sldChg>
      <pc:sldChg chg="modSp mod">
        <pc:chgData name="Luis Moßburger" userId="2a606c2b-1031-4842-b567-351303c62b15" providerId="ADAL" clId="{074C13F4-5714-3343-8842-B2CAB59C4423}" dt="2023-11-05T17:48:11.276" v="3222" actId="20577"/>
        <pc:sldMkLst>
          <pc:docMk/>
          <pc:sldMk cId="3410771101" sldId="2147375386"/>
        </pc:sldMkLst>
        <pc:spChg chg="mod">
          <ac:chgData name="Luis Moßburger" userId="2a606c2b-1031-4842-b567-351303c62b15" providerId="ADAL" clId="{074C13F4-5714-3343-8842-B2CAB59C4423}" dt="2023-11-05T17:48:03.036" v="3220" actId="20577"/>
          <ac:spMkLst>
            <pc:docMk/>
            <pc:sldMk cId="3410771101" sldId="2147375386"/>
            <ac:spMk id="4" creationId="{BA18E608-D695-4BB1-6ECD-684DF425DFD6}"/>
          </ac:spMkLst>
        </pc:spChg>
        <pc:spChg chg="mod">
          <ac:chgData name="Luis Moßburger" userId="2a606c2b-1031-4842-b567-351303c62b15" providerId="ADAL" clId="{074C13F4-5714-3343-8842-B2CAB59C4423}" dt="2023-11-05T17:48:11.276" v="3222" actId="20577"/>
          <ac:spMkLst>
            <pc:docMk/>
            <pc:sldMk cId="3410771101" sldId="2147375386"/>
            <ac:spMk id="5" creationId="{F2874E01-5688-9F79-1CE4-E8336D92774E}"/>
          </ac:spMkLst>
        </pc:spChg>
      </pc:sldChg>
      <pc:sldChg chg="modSp mod delCm">
        <pc:chgData name="Luis Moßburger" userId="2a606c2b-1031-4842-b567-351303c62b15" providerId="ADAL" clId="{074C13F4-5714-3343-8842-B2CAB59C4423}" dt="2023-11-05T17:48:43.513" v="3226" actId="255"/>
        <pc:sldMkLst>
          <pc:docMk/>
          <pc:sldMk cId="1428234475" sldId="2147375387"/>
        </pc:sldMkLst>
        <pc:spChg chg="mod">
          <ac:chgData name="Luis Moßburger" userId="2a606c2b-1031-4842-b567-351303c62b15" providerId="ADAL" clId="{074C13F4-5714-3343-8842-B2CAB59C4423}" dt="2023-11-05T17:48:43.513" v="3226" actId="255"/>
          <ac:spMkLst>
            <pc:docMk/>
            <pc:sldMk cId="1428234475" sldId="2147375387"/>
            <ac:spMk id="4" creationId="{0BAD73DB-F93B-C53B-9219-E3E1CCE59372}"/>
          </ac:spMkLst>
        </pc:spChg>
        <pc:spChg chg="mod">
          <ac:chgData name="Luis Moßburger" userId="2a606c2b-1031-4842-b567-351303c62b15" providerId="ADAL" clId="{074C13F4-5714-3343-8842-B2CAB59C4423}" dt="2023-11-05T17:48:14.916" v="3223" actId="20577"/>
          <ac:spMkLst>
            <pc:docMk/>
            <pc:sldMk cId="1428234475" sldId="2147375387"/>
            <ac:spMk id="5" creationId="{B020CBF2-31A9-1FFC-5226-7F3DA0309249}"/>
          </ac:spMkLst>
        </pc:spChg>
        <pc:extLst>
          <p:ext xmlns:p="http://schemas.openxmlformats.org/presentationml/2006/main" uri="{D6D511B9-2390-475A-947B-AFAB55BFBCF1}">
            <pc226:cmChg xmlns:pc226="http://schemas.microsoft.com/office/powerpoint/2022/06/main/command" chg="del">
              <pc226:chgData name="Luis Moßburger" userId="2a606c2b-1031-4842-b567-351303c62b15" providerId="ADAL" clId="{074C13F4-5714-3343-8842-B2CAB59C4423}" dt="2023-11-05T15:33:39.081" v="429"/>
              <pc2:cmMkLst xmlns:pc2="http://schemas.microsoft.com/office/powerpoint/2019/9/main/command">
                <pc:docMk/>
                <pc:sldMk cId="1428234475" sldId="2147375387"/>
                <pc2:cmMk id="{E402AE5C-7256-BF43-B492-02E7CECF539F}"/>
              </pc2:cmMkLst>
            </pc226:cmChg>
          </p:ext>
        </pc:extLst>
      </pc:sldChg>
      <pc:sldChg chg="addSp delSp modSp mod ord delCm">
        <pc:chgData name="Luis Moßburger" userId="2a606c2b-1031-4842-b567-351303c62b15" providerId="ADAL" clId="{074C13F4-5714-3343-8842-B2CAB59C4423}" dt="2023-11-05T17:51:51.500" v="3477" actId="20577"/>
        <pc:sldMkLst>
          <pc:docMk/>
          <pc:sldMk cId="2778957091" sldId="2147375388"/>
        </pc:sldMkLst>
        <pc:spChg chg="mod">
          <ac:chgData name="Luis Moßburger" userId="2a606c2b-1031-4842-b567-351303c62b15" providerId="ADAL" clId="{074C13F4-5714-3343-8842-B2CAB59C4423}" dt="2023-11-05T17:51:27.251" v="3429" actId="20577"/>
          <ac:spMkLst>
            <pc:docMk/>
            <pc:sldMk cId="2778957091" sldId="2147375388"/>
            <ac:spMk id="4" creationId="{0BAD73DB-F93B-C53B-9219-E3E1CCE59372}"/>
          </ac:spMkLst>
        </pc:spChg>
        <pc:spChg chg="mod">
          <ac:chgData name="Luis Moßburger" userId="2a606c2b-1031-4842-b567-351303c62b15" providerId="ADAL" clId="{074C13F4-5714-3343-8842-B2CAB59C4423}" dt="2023-11-05T17:51:51.500" v="3477" actId="20577"/>
          <ac:spMkLst>
            <pc:docMk/>
            <pc:sldMk cId="2778957091" sldId="2147375388"/>
            <ac:spMk id="5" creationId="{B020CBF2-31A9-1FFC-5226-7F3DA0309249}"/>
          </ac:spMkLst>
        </pc:spChg>
        <pc:spChg chg="del">
          <ac:chgData name="Luis Moßburger" userId="2a606c2b-1031-4842-b567-351303c62b15" providerId="ADAL" clId="{074C13F4-5714-3343-8842-B2CAB59C4423}" dt="2023-11-05T17:50:02.803" v="3243"/>
          <ac:spMkLst>
            <pc:docMk/>
            <pc:sldMk cId="2778957091" sldId="2147375388"/>
            <ac:spMk id="11" creationId="{7A5BD76E-3049-A830-71A5-6544C2208E05}"/>
          </ac:spMkLst>
        </pc:spChg>
        <pc:picChg chg="add mod">
          <ac:chgData name="Luis Moßburger" userId="2a606c2b-1031-4842-b567-351303c62b15" providerId="ADAL" clId="{074C13F4-5714-3343-8842-B2CAB59C4423}" dt="2023-11-05T17:50:02.803" v="3243"/>
          <ac:picMkLst>
            <pc:docMk/>
            <pc:sldMk cId="2778957091" sldId="2147375388"/>
            <ac:picMk id="5122" creationId="{6E8AD8C6-CEB7-6881-B8CB-0430ACAC49C7}"/>
          </ac:picMkLst>
        </pc:picChg>
        <pc:extLst>
          <p:ext xmlns:p="http://schemas.openxmlformats.org/presentationml/2006/main" uri="{D6D511B9-2390-475A-947B-AFAB55BFBCF1}">
            <pc226:cmChg xmlns:pc226="http://schemas.microsoft.com/office/powerpoint/2022/06/main/command" chg="del">
              <pc226:chgData name="Luis Moßburger" userId="2a606c2b-1031-4842-b567-351303c62b15" providerId="ADAL" clId="{074C13F4-5714-3343-8842-B2CAB59C4423}" dt="2023-11-05T15:33:42.898" v="430"/>
              <pc2:cmMkLst xmlns:pc2="http://schemas.microsoft.com/office/powerpoint/2019/9/main/command">
                <pc:docMk/>
                <pc:sldMk cId="2778957091" sldId="2147375388"/>
                <pc2:cmMk id="{B75A4A93-8B24-4B1D-87D0-49CB2413E660}"/>
              </pc2:cmMkLst>
            </pc226:cmChg>
          </p:ext>
        </pc:extLst>
      </pc:sldChg>
      <pc:sldChg chg="modSp mod">
        <pc:chgData name="Luis Moßburger" userId="2a606c2b-1031-4842-b567-351303c62b15" providerId="ADAL" clId="{074C13F4-5714-3343-8842-B2CAB59C4423}" dt="2023-11-05T15:30:33.958" v="166" actId="2711"/>
        <pc:sldMkLst>
          <pc:docMk/>
          <pc:sldMk cId="1315969937" sldId="2147375389"/>
        </pc:sldMkLst>
        <pc:spChg chg="mod">
          <ac:chgData name="Luis Moßburger" userId="2a606c2b-1031-4842-b567-351303c62b15" providerId="ADAL" clId="{074C13F4-5714-3343-8842-B2CAB59C4423}" dt="2023-11-05T15:30:33.958" v="166" actId="2711"/>
          <ac:spMkLst>
            <pc:docMk/>
            <pc:sldMk cId="1315969937" sldId="2147375389"/>
            <ac:spMk id="2" creationId="{A9C3D6A4-13F0-8728-A927-8F111698188F}"/>
          </ac:spMkLst>
        </pc:spChg>
      </pc:sldChg>
      <pc:sldChg chg="addSp delSp modSp add mod modClrScheme chgLayout">
        <pc:chgData name="Luis Moßburger" userId="2a606c2b-1031-4842-b567-351303c62b15" providerId="ADAL" clId="{074C13F4-5714-3343-8842-B2CAB59C4423}" dt="2023-11-05T15:43:31.825" v="483" actId="700"/>
        <pc:sldMkLst>
          <pc:docMk/>
          <pc:sldMk cId="1955307389" sldId="2147375390"/>
        </pc:sldMkLst>
        <pc:spChg chg="mod ord">
          <ac:chgData name="Luis Moßburger" userId="2a606c2b-1031-4842-b567-351303c62b15" providerId="ADAL" clId="{074C13F4-5714-3343-8842-B2CAB59C4423}" dt="2023-11-05T15:43:31.825" v="483" actId="700"/>
          <ac:spMkLst>
            <pc:docMk/>
            <pc:sldMk cId="1955307389" sldId="2147375390"/>
            <ac:spMk id="2" creationId="{A9C3D6A4-13F0-8728-A927-8F111698188F}"/>
          </ac:spMkLst>
        </pc:spChg>
        <pc:spChg chg="mod ord">
          <ac:chgData name="Luis Moßburger" userId="2a606c2b-1031-4842-b567-351303c62b15" providerId="ADAL" clId="{074C13F4-5714-3343-8842-B2CAB59C4423}" dt="2023-11-05T15:43:31.825" v="483" actId="700"/>
          <ac:spMkLst>
            <pc:docMk/>
            <pc:sldMk cId="1955307389" sldId="2147375390"/>
            <ac:spMk id="3" creationId="{AE99FECB-7810-50D0-ECD3-2F36926B5619}"/>
          </ac:spMkLst>
        </pc:spChg>
        <pc:spChg chg="mod ord">
          <ac:chgData name="Luis Moßburger" userId="2a606c2b-1031-4842-b567-351303c62b15" providerId="ADAL" clId="{074C13F4-5714-3343-8842-B2CAB59C4423}" dt="2023-11-05T15:43:31.825" v="483" actId="700"/>
          <ac:spMkLst>
            <pc:docMk/>
            <pc:sldMk cId="1955307389" sldId="2147375390"/>
            <ac:spMk id="4" creationId="{CCF61199-FBF9-A4FF-145A-248A4D4BA96A}"/>
          </ac:spMkLst>
        </pc:spChg>
        <pc:spChg chg="add del mod ord">
          <ac:chgData name="Luis Moßburger" userId="2a606c2b-1031-4842-b567-351303c62b15" providerId="ADAL" clId="{074C13F4-5714-3343-8842-B2CAB59C4423}" dt="2023-11-05T15:43:31.825" v="483" actId="700"/>
          <ac:spMkLst>
            <pc:docMk/>
            <pc:sldMk cId="1955307389" sldId="2147375390"/>
            <ac:spMk id="5" creationId="{D66715DF-3E27-D148-6F68-DCE7F0471266}"/>
          </ac:spMkLst>
        </pc:spChg>
        <pc:spChg chg="add del mod ord">
          <ac:chgData name="Luis Moßburger" userId="2a606c2b-1031-4842-b567-351303c62b15" providerId="ADAL" clId="{074C13F4-5714-3343-8842-B2CAB59C4423}" dt="2023-11-05T15:43:31.825" v="483" actId="700"/>
          <ac:spMkLst>
            <pc:docMk/>
            <pc:sldMk cId="1955307389" sldId="2147375390"/>
            <ac:spMk id="6" creationId="{21CA9E61-6890-DA22-C0D7-E2DF59173CCA}"/>
          </ac:spMkLst>
        </pc:spChg>
        <pc:spChg chg="add del mod ord">
          <ac:chgData name="Luis Moßburger" userId="2a606c2b-1031-4842-b567-351303c62b15" providerId="ADAL" clId="{074C13F4-5714-3343-8842-B2CAB59C4423}" dt="2023-11-05T15:43:31.825" v="483" actId="700"/>
          <ac:spMkLst>
            <pc:docMk/>
            <pc:sldMk cId="1955307389" sldId="2147375390"/>
            <ac:spMk id="7" creationId="{36354FCF-B48E-7DBE-D670-A953E9B04DB6}"/>
          </ac:spMkLst>
        </pc:spChg>
        <pc:spChg chg="add del mod ord">
          <ac:chgData name="Luis Moßburger" userId="2a606c2b-1031-4842-b567-351303c62b15" providerId="ADAL" clId="{074C13F4-5714-3343-8842-B2CAB59C4423}" dt="2023-11-05T15:43:31.825" v="483" actId="700"/>
          <ac:spMkLst>
            <pc:docMk/>
            <pc:sldMk cId="1955307389" sldId="2147375390"/>
            <ac:spMk id="8" creationId="{F8E74260-3DEB-97BE-A239-58A4584B7F3F}"/>
          </ac:spMkLst>
        </pc:spChg>
        <pc:spChg chg="add del mod ord">
          <ac:chgData name="Luis Moßburger" userId="2a606c2b-1031-4842-b567-351303c62b15" providerId="ADAL" clId="{074C13F4-5714-3343-8842-B2CAB59C4423}" dt="2023-11-05T15:43:31.825" v="483" actId="700"/>
          <ac:spMkLst>
            <pc:docMk/>
            <pc:sldMk cId="1955307389" sldId="2147375390"/>
            <ac:spMk id="9" creationId="{4C793853-F81B-5E9A-94AC-C6A733982B46}"/>
          </ac:spMkLst>
        </pc:spChg>
        <pc:spChg chg="add del mod ord">
          <ac:chgData name="Luis Moßburger" userId="2a606c2b-1031-4842-b567-351303c62b15" providerId="ADAL" clId="{074C13F4-5714-3343-8842-B2CAB59C4423}" dt="2023-11-05T15:43:31.825" v="483" actId="700"/>
          <ac:spMkLst>
            <pc:docMk/>
            <pc:sldMk cId="1955307389" sldId="2147375390"/>
            <ac:spMk id="10" creationId="{83CD8A24-D19A-B7B5-F824-AE6B1B43F959}"/>
          </ac:spMkLst>
        </pc:spChg>
      </pc:sldChg>
      <pc:sldChg chg="modSp new mod">
        <pc:chgData name="Luis Moßburger" userId="2a606c2b-1031-4842-b567-351303c62b15" providerId="ADAL" clId="{074C13F4-5714-3343-8842-B2CAB59C4423}" dt="2023-11-05T15:44:35.626" v="587" actId="255"/>
        <pc:sldMkLst>
          <pc:docMk/>
          <pc:sldMk cId="799195672" sldId="2147375391"/>
        </pc:sldMkLst>
        <pc:spChg chg="mod">
          <ac:chgData name="Luis Moßburger" userId="2a606c2b-1031-4842-b567-351303c62b15" providerId="ADAL" clId="{074C13F4-5714-3343-8842-B2CAB59C4423}" dt="2023-11-05T15:43:43.322" v="516" actId="20577"/>
          <ac:spMkLst>
            <pc:docMk/>
            <pc:sldMk cId="799195672" sldId="2147375391"/>
            <ac:spMk id="2" creationId="{28959340-BF9B-7D4C-DA45-5BF939F5110F}"/>
          </ac:spMkLst>
        </pc:spChg>
        <pc:spChg chg="mod">
          <ac:chgData name="Luis Moßburger" userId="2a606c2b-1031-4842-b567-351303c62b15" providerId="ADAL" clId="{074C13F4-5714-3343-8842-B2CAB59C4423}" dt="2023-11-05T15:43:48.473" v="532" actId="20577"/>
          <ac:spMkLst>
            <pc:docMk/>
            <pc:sldMk cId="799195672" sldId="2147375391"/>
            <ac:spMk id="6" creationId="{9F0FD08E-ABFA-85D7-0331-4EC943E7CE12}"/>
          </ac:spMkLst>
        </pc:spChg>
        <pc:spChg chg="mod">
          <ac:chgData name="Luis Moßburger" userId="2a606c2b-1031-4842-b567-351303c62b15" providerId="ADAL" clId="{074C13F4-5714-3343-8842-B2CAB59C4423}" dt="2023-11-05T15:43:58.420" v="583" actId="20577"/>
          <ac:spMkLst>
            <pc:docMk/>
            <pc:sldMk cId="799195672" sldId="2147375391"/>
            <ac:spMk id="7" creationId="{9A6A7491-0AA2-00A2-FCF0-70DE8EE1FE51}"/>
          </ac:spMkLst>
        </pc:spChg>
        <pc:spChg chg="mod">
          <ac:chgData name="Luis Moßburger" userId="2a606c2b-1031-4842-b567-351303c62b15" providerId="ADAL" clId="{074C13F4-5714-3343-8842-B2CAB59C4423}" dt="2023-11-05T15:44:21.124" v="585" actId="255"/>
          <ac:spMkLst>
            <pc:docMk/>
            <pc:sldMk cId="799195672" sldId="2147375391"/>
            <ac:spMk id="8" creationId="{87434808-8EDE-D92E-71E8-8BF447DEFA17}"/>
          </ac:spMkLst>
        </pc:spChg>
        <pc:spChg chg="mod">
          <ac:chgData name="Luis Moßburger" userId="2a606c2b-1031-4842-b567-351303c62b15" providerId="ADAL" clId="{074C13F4-5714-3343-8842-B2CAB59C4423}" dt="2023-11-05T15:44:35.626" v="587" actId="255"/>
          <ac:spMkLst>
            <pc:docMk/>
            <pc:sldMk cId="799195672" sldId="2147375391"/>
            <ac:spMk id="9" creationId="{BE8900F9-B8D1-F3BC-AA80-9436FF16D07A}"/>
          </ac:spMkLst>
        </pc:spChg>
      </pc:sldChg>
      <pc:sldChg chg="modSp new mod">
        <pc:chgData name="Luis Moßburger" userId="2a606c2b-1031-4842-b567-351303c62b15" providerId="ADAL" clId="{074C13F4-5714-3343-8842-B2CAB59C4423}" dt="2023-11-05T15:50:41.886" v="1247" actId="20577"/>
        <pc:sldMkLst>
          <pc:docMk/>
          <pc:sldMk cId="500211859" sldId="2147375392"/>
        </pc:sldMkLst>
        <pc:spChg chg="mod">
          <ac:chgData name="Luis Moßburger" userId="2a606c2b-1031-4842-b567-351303c62b15" providerId="ADAL" clId="{074C13F4-5714-3343-8842-B2CAB59C4423}" dt="2023-11-05T15:49:52.680" v="1121" actId="20577"/>
          <ac:spMkLst>
            <pc:docMk/>
            <pc:sldMk cId="500211859" sldId="2147375392"/>
            <ac:spMk id="2" creationId="{319FBBD9-4FB6-810D-C068-84E4A1AADB44}"/>
          </ac:spMkLst>
        </pc:spChg>
        <pc:spChg chg="mod">
          <ac:chgData name="Luis Moßburger" userId="2a606c2b-1031-4842-b567-351303c62b15" providerId="ADAL" clId="{074C13F4-5714-3343-8842-B2CAB59C4423}" dt="2023-11-05T15:46:14.699" v="670" actId="20577"/>
          <ac:spMkLst>
            <pc:docMk/>
            <pc:sldMk cId="500211859" sldId="2147375392"/>
            <ac:spMk id="6" creationId="{AB141A51-5BD3-FC69-6D03-D34523A599D1}"/>
          </ac:spMkLst>
        </pc:spChg>
        <pc:spChg chg="mod">
          <ac:chgData name="Luis Moßburger" userId="2a606c2b-1031-4842-b567-351303c62b15" providerId="ADAL" clId="{074C13F4-5714-3343-8842-B2CAB59C4423}" dt="2023-11-05T15:48:34.371" v="945" actId="20577"/>
          <ac:spMkLst>
            <pc:docMk/>
            <pc:sldMk cId="500211859" sldId="2147375392"/>
            <ac:spMk id="7" creationId="{A9E202D1-0688-6685-3C3E-37CEF25C4E8B}"/>
          </ac:spMkLst>
        </pc:spChg>
        <pc:spChg chg="mod">
          <ac:chgData name="Luis Moßburger" userId="2a606c2b-1031-4842-b567-351303c62b15" providerId="ADAL" clId="{074C13F4-5714-3343-8842-B2CAB59C4423}" dt="2023-11-05T15:46:33.706" v="691" actId="20577"/>
          <ac:spMkLst>
            <pc:docMk/>
            <pc:sldMk cId="500211859" sldId="2147375392"/>
            <ac:spMk id="8" creationId="{8FD6450F-0E71-5EBE-26AC-42A5054DCAC2}"/>
          </ac:spMkLst>
        </pc:spChg>
        <pc:spChg chg="mod">
          <ac:chgData name="Luis Moßburger" userId="2a606c2b-1031-4842-b567-351303c62b15" providerId="ADAL" clId="{074C13F4-5714-3343-8842-B2CAB59C4423}" dt="2023-11-05T15:49:39.587" v="1094" actId="20577"/>
          <ac:spMkLst>
            <pc:docMk/>
            <pc:sldMk cId="500211859" sldId="2147375392"/>
            <ac:spMk id="9" creationId="{04943272-FE98-174D-C27E-1BA1113555F6}"/>
          </ac:spMkLst>
        </pc:spChg>
        <pc:spChg chg="mod">
          <ac:chgData name="Luis Moßburger" userId="2a606c2b-1031-4842-b567-351303c62b15" providerId="ADAL" clId="{074C13F4-5714-3343-8842-B2CAB59C4423}" dt="2023-11-05T15:46:21.522" v="683" actId="20577"/>
          <ac:spMkLst>
            <pc:docMk/>
            <pc:sldMk cId="500211859" sldId="2147375392"/>
            <ac:spMk id="10" creationId="{524795B3-B262-24EB-482B-9175803BB639}"/>
          </ac:spMkLst>
        </pc:spChg>
        <pc:spChg chg="mod">
          <ac:chgData name="Luis Moßburger" userId="2a606c2b-1031-4842-b567-351303c62b15" providerId="ADAL" clId="{074C13F4-5714-3343-8842-B2CAB59C4423}" dt="2023-11-05T15:50:41.886" v="1247" actId="20577"/>
          <ac:spMkLst>
            <pc:docMk/>
            <pc:sldMk cId="500211859" sldId="2147375392"/>
            <ac:spMk id="11" creationId="{1C4733A9-074C-1B27-F067-0E2708C92A28}"/>
          </ac:spMkLst>
        </pc:spChg>
      </pc:sldChg>
      <pc:sldChg chg="modSp add mod">
        <pc:chgData name="Luis Moßburger" userId="2a606c2b-1031-4842-b567-351303c62b15" providerId="ADAL" clId="{074C13F4-5714-3343-8842-B2CAB59C4423}" dt="2023-11-05T16:45:15.542" v="2084" actId="1036"/>
        <pc:sldMkLst>
          <pc:docMk/>
          <pc:sldMk cId="1520257580" sldId="2147375393"/>
        </pc:sldMkLst>
        <pc:spChg chg="mod">
          <ac:chgData name="Luis Moßburger" userId="2a606c2b-1031-4842-b567-351303c62b15" providerId="ADAL" clId="{074C13F4-5714-3343-8842-B2CAB59C4423}" dt="2023-11-05T16:45:15.542" v="2084" actId="1036"/>
          <ac:spMkLst>
            <pc:docMk/>
            <pc:sldMk cId="1520257580" sldId="2147375393"/>
            <ac:spMk id="3" creationId="{F3CDF1E2-4FAB-7D6C-6483-2DADB0CAE7A8}"/>
          </ac:spMkLst>
        </pc:spChg>
        <pc:spChg chg="mod">
          <ac:chgData name="Luis Moßburger" userId="2a606c2b-1031-4842-b567-351303c62b15" providerId="ADAL" clId="{074C13F4-5714-3343-8842-B2CAB59C4423}" dt="2023-11-05T16:10:22.131" v="1559" actId="1076"/>
          <ac:spMkLst>
            <pc:docMk/>
            <pc:sldMk cId="1520257580" sldId="2147375393"/>
            <ac:spMk id="5" creationId="{50AAAE78-F515-F429-74B4-5993589C9293}"/>
          </ac:spMkLst>
        </pc:spChg>
        <pc:grpChg chg="mod">
          <ac:chgData name="Luis Moßburger" userId="2a606c2b-1031-4842-b567-351303c62b15" providerId="ADAL" clId="{074C13F4-5714-3343-8842-B2CAB59C4423}" dt="2023-11-05T16:45:15.542" v="2084" actId="1036"/>
          <ac:grpSpMkLst>
            <pc:docMk/>
            <pc:sldMk cId="1520257580" sldId="2147375393"/>
            <ac:grpSpMk id="15" creationId="{CA051DA9-70F7-74B1-53CC-1AC328631D89}"/>
          </ac:grpSpMkLst>
        </pc:grpChg>
        <pc:grpChg chg="mod">
          <ac:chgData name="Luis Moßburger" userId="2a606c2b-1031-4842-b567-351303c62b15" providerId="ADAL" clId="{074C13F4-5714-3343-8842-B2CAB59C4423}" dt="2023-11-05T16:45:15.542" v="2084" actId="1036"/>
          <ac:grpSpMkLst>
            <pc:docMk/>
            <pc:sldMk cId="1520257580" sldId="2147375393"/>
            <ac:grpSpMk id="16" creationId="{4F519ACB-0047-1614-D00E-A2AC489B6029}"/>
          </ac:grpSpMkLst>
        </pc:grpChg>
        <pc:grpChg chg="mod">
          <ac:chgData name="Luis Moßburger" userId="2a606c2b-1031-4842-b567-351303c62b15" providerId="ADAL" clId="{074C13F4-5714-3343-8842-B2CAB59C4423}" dt="2023-11-05T16:45:15.542" v="2084" actId="1036"/>
          <ac:grpSpMkLst>
            <pc:docMk/>
            <pc:sldMk cId="1520257580" sldId="2147375393"/>
            <ac:grpSpMk id="17" creationId="{8828BD9F-A043-B755-5050-0B6DD19FDDA4}"/>
          </ac:grpSpMkLst>
        </pc:grpChg>
      </pc:sldChg>
      <pc:sldChg chg="addSp delSp modSp add del mod delAnim">
        <pc:chgData name="Luis Moßburger" userId="2a606c2b-1031-4842-b567-351303c62b15" providerId="ADAL" clId="{074C13F4-5714-3343-8842-B2CAB59C4423}" dt="2023-11-05T16:45:22.074" v="2085" actId="2696"/>
        <pc:sldMkLst>
          <pc:docMk/>
          <pc:sldMk cId="2545108040" sldId="2147375394"/>
        </pc:sldMkLst>
        <pc:spChg chg="del">
          <ac:chgData name="Luis Moßburger" userId="2a606c2b-1031-4842-b567-351303c62b15" providerId="ADAL" clId="{074C13F4-5714-3343-8842-B2CAB59C4423}" dt="2023-11-05T16:19:24.010" v="1603" actId="478"/>
          <ac:spMkLst>
            <pc:docMk/>
            <pc:sldMk cId="2545108040" sldId="2147375394"/>
            <ac:spMk id="88" creationId="{47ED224C-B3CD-CF53-BBCA-2263E89C2480}"/>
          </ac:spMkLst>
        </pc:spChg>
        <pc:spChg chg="del">
          <ac:chgData name="Luis Moßburger" userId="2a606c2b-1031-4842-b567-351303c62b15" providerId="ADAL" clId="{074C13F4-5714-3343-8842-B2CAB59C4423}" dt="2023-11-05T16:19:21.455" v="1602" actId="478"/>
          <ac:spMkLst>
            <pc:docMk/>
            <pc:sldMk cId="2545108040" sldId="2147375394"/>
            <ac:spMk id="89" creationId="{089D3C18-2E1E-D7CF-7BCB-88DB0BFEE671}"/>
          </ac:spMkLst>
        </pc:spChg>
        <pc:spChg chg="del">
          <ac:chgData name="Luis Moßburger" userId="2a606c2b-1031-4842-b567-351303c62b15" providerId="ADAL" clId="{074C13F4-5714-3343-8842-B2CAB59C4423}" dt="2023-11-05T16:19:18.303" v="1600" actId="478"/>
          <ac:spMkLst>
            <pc:docMk/>
            <pc:sldMk cId="2545108040" sldId="2147375394"/>
            <ac:spMk id="90" creationId="{1B35412A-7F7F-6EEE-6B02-1C6DF02FBF62}"/>
          </ac:spMkLst>
        </pc:spChg>
        <pc:spChg chg="del">
          <ac:chgData name="Luis Moßburger" userId="2a606c2b-1031-4842-b567-351303c62b15" providerId="ADAL" clId="{074C13F4-5714-3343-8842-B2CAB59C4423}" dt="2023-11-05T16:19:19.607" v="1601" actId="478"/>
          <ac:spMkLst>
            <pc:docMk/>
            <pc:sldMk cId="2545108040" sldId="2147375394"/>
            <ac:spMk id="91" creationId="{0BA68DF4-4545-3DC5-487C-7F42EB88A93D}"/>
          </ac:spMkLst>
        </pc:spChg>
        <pc:grpChg chg="del">
          <ac:chgData name="Luis Moßburger" userId="2a606c2b-1031-4842-b567-351303c62b15" providerId="ADAL" clId="{074C13F4-5714-3343-8842-B2CAB59C4423}" dt="2023-11-05T16:18:28.981" v="1593" actId="165"/>
          <ac:grpSpMkLst>
            <pc:docMk/>
            <pc:sldMk cId="2545108040" sldId="2147375394"/>
            <ac:grpSpMk id="67" creationId="{8E81BDB2-9C2A-A6B0-9C75-A2602BD2425D}"/>
          </ac:grpSpMkLst>
        </pc:grpChg>
        <pc:grpChg chg="topLvl">
          <ac:chgData name="Luis Moßburger" userId="2a606c2b-1031-4842-b567-351303c62b15" providerId="ADAL" clId="{074C13F4-5714-3343-8842-B2CAB59C4423}" dt="2023-11-05T16:18:28.981" v="1593" actId="165"/>
          <ac:grpSpMkLst>
            <pc:docMk/>
            <pc:sldMk cId="2545108040" sldId="2147375394"/>
            <ac:grpSpMk id="69" creationId="{0F912025-4209-92D5-3430-594AC82EAA6E}"/>
          </ac:grpSpMkLst>
        </pc:grpChg>
        <pc:grpChg chg="mod topLvl">
          <ac:chgData name="Luis Moßburger" userId="2a606c2b-1031-4842-b567-351303c62b15" providerId="ADAL" clId="{074C13F4-5714-3343-8842-B2CAB59C4423}" dt="2023-11-05T16:35:12.999" v="1923" actId="1076"/>
          <ac:grpSpMkLst>
            <pc:docMk/>
            <pc:sldMk cId="2545108040" sldId="2147375394"/>
            <ac:grpSpMk id="70" creationId="{32955EDE-9E26-978D-98CB-13DC928D8750}"/>
          </ac:grpSpMkLst>
        </pc:grpChg>
        <pc:picChg chg="add del mod">
          <ac:chgData name="Luis Moßburger" userId="2a606c2b-1031-4842-b567-351303c62b15" providerId="ADAL" clId="{074C13F4-5714-3343-8842-B2CAB59C4423}" dt="2023-11-05T16:40:35.473" v="1996"/>
          <ac:picMkLst>
            <pc:docMk/>
            <pc:sldMk cId="2545108040" sldId="2147375394"/>
            <ac:picMk id="2" creationId="{734E87C4-47AD-AA0F-ECB5-BAB7190F98B5}"/>
          </ac:picMkLst>
        </pc:picChg>
        <pc:picChg chg="mod topLvl">
          <ac:chgData name="Luis Moßburger" userId="2a606c2b-1031-4842-b567-351303c62b15" providerId="ADAL" clId="{074C13F4-5714-3343-8842-B2CAB59C4423}" dt="2023-11-05T16:40:05.633" v="1994" actId="1076"/>
          <ac:picMkLst>
            <pc:docMk/>
            <pc:sldMk cId="2545108040" sldId="2147375394"/>
            <ac:picMk id="68" creationId="{E9D15AAE-527F-5FE5-52EB-44B1AABBE265}"/>
          </ac:picMkLst>
        </pc:picChg>
      </pc:sldChg>
      <pc:sldChg chg="addSp delSp modSp add del mod ord delAnim">
        <pc:chgData name="Luis Moßburger" userId="2a606c2b-1031-4842-b567-351303c62b15" providerId="ADAL" clId="{074C13F4-5714-3343-8842-B2CAB59C4423}" dt="2023-11-05T16:42:51.710" v="2042" actId="2696"/>
        <pc:sldMkLst>
          <pc:docMk/>
          <pc:sldMk cId="434347707" sldId="2147375395"/>
        </pc:sldMkLst>
        <pc:spChg chg="add del mod">
          <ac:chgData name="Luis Moßburger" userId="2a606c2b-1031-4842-b567-351303c62b15" providerId="ADAL" clId="{074C13F4-5714-3343-8842-B2CAB59C4423}" dt="2023-11-05T16:32:51.850" v="1877" actId="478"/>
          <ac:spMkLst>
            <pc:docMk/>
            <pc:sldMk cId="434347707" sldId="2147375395"/>
            <ac:spMk id="2" creationId="{4B5E55D0-3B24-5C26-9863-BC91AB66B4E4}"/>
          </ac:spMkLst>
        </pc:spChg>
        <pc:spChg chg="del">
          <ac:chgData name="Luis Moßburger" userId="2a606c2b-1031-4842-b567-351303c62b15" providerId="ADAL" clId="{074C13F4-5714-3343-8842-B2CAB59C4423}" dt="2023-11-05T16:16:25.174" v="1568" actId="478"/>
          <ac:spMkLst>
            <pc:docMk/>
            <pc:sldMk cId="434347707" sldId="2147375395"/>
            <ac:spMk id="3" creationId="{F3CDF1E2-4FAB-7D6C-6483-2DADB0CAE7A8}"/>
          </ac:spMkLst>
        </pc:spChg>
        <pc:spChg chg="mod">
          <ac:chgData name="Luis Moßburger" userId="2a606c2b-1031-4842-b567-351303c62b15" providerId="ADAL" clId="{074C13F4-5714-3343-8842-B2CAB59C4423}" dt="2023-11-05T16:38:34.919" v="1958" actId="1076"/>
          <ac:spMkLst>
            <pc:docMk/>
            <pc:sldMk cId="434347707" sldId="2147375395"/>
            <ac:spMk id="5" creationId="{50AAAE78-F515-F429-74B4-5993589C9293}"/>
          </ac:spMkLst>
        </pc:spChg>
        <pc:spChg chg="add mod">
          <ac:chgData name="Luis Moßburger" userId="2a606c2b-1031-4842-b567-351303c62b15" providerId="ADAL" clId="{074C13F4-5714-3343-8842-B2CAB59C4423}" dt="2023-11-05T16:34:30.705" v="1917" actId="207"/>
          <ac:spMkLst>
            <pc:docMk/>
            <pc:sldMk cId="434347707" sldId="2147375395"/>
            <ac:spMk id="14" creationId="{8FDF2060-9C67-6D4B-922A-30A863EEB128}"/>
          </ac:spMkLst>
        </pc:spChg>
        <pc:spChg chg="add mod">
          <ac:chgData name="Luis Moßburger" userId="2a606c2b-1031-4842-b567-351303c62b15" providerId="ADAL" clId="{074C13F4-5714-3343-8842-B2CAB59C4423}" dt="2023-11-05T16:34:38.110" v="1918" actId="207"/>
          <ac:spMkLst>
            <pc:docMk/>
            <pc:sldMk cId="434347707" sldId="2147375395"/>
            <ac:spMk id="15" creationId="{613BB667-45EF-D884-C162-E98E5214D54F}"/>
          </ac:spMkLst>
        </pc:spChg>
        <pc:spChg chg="add mod">
          <ac:chgData name="Luis Moßburger" userId="2a606c2b-1031-4842-b567-351303c62b15" providerId="ADAL" clId="{074C13F4-5714-3343-8842-B2CAB59C4423}" dt="2023-11-05T16:34:17.133" v="1914" actId="207"/>
          <ac:spMkLst>
            <pc:docMk/>
            <pc:sldMk cId="434347707" sldId="2147375395"/>
            <ac:spMk id="16" creationId="{B47A6A13-1549-F8DC-C8BD-71CB03C3D367}"/>
          </ac:spMkLst>
        </pc:spChg>
        <pc:spChg chg="add del mod">
          <ac:chgData name="Luis Moßburger" userId="2a606c2b-1031-4842-b567-351303c62b15" providerId="ADAL" clId="{074C13F4-5714-3343-8842-B2CAB59C4423}" dt="2023-11-05T16:26:21.746" v="1779" actId="478"/>
          <ac:spMkLst>
            <pc:docMk/>
            <pc:sldMk cId="434347707" sldId="2147375395"/>
            <ac:spMk id="17" creationId="{2FB35FC3-F13E-BB37-C600-E4F02C71C182}"/>
          </ac:spMkLst>
        </pc:spChg>
        <pc:spChg chg="add mod">
          <ac:chgData name="Luis Moßburger" userId="2a606c2b-1031-4842-b567-351303c62b15" providerId="ADAL" clId="{074C13F4-5714-3343-8842-B2CAB59C4423}" dt="2023-11-05T16:34:25.341" v="1916" actId="207"/>
          <ac:spMkLst>
            <pc:docMk/>
            <pc:sldMk cId="434347707" sldId="2147375395"/>
            <ac:spMk id="18" creationId="{CB35B6E8-1EF6-C5A1-CD77-D8EFD3F8EE61}"/>
          </ac:spMkLst>
        </pc:spChg>
        <pc:spChg chg="mod">
          <ac:chgData name="Luis Moßburger" userId="2a606c2b-1031-4842-b567-351303c62b15" providerId="ADAL" clId="{074C13F4-5714-3343-8842-B2CAB59C4423}" dt="2023-11-05T16:35:20.647" v="1924"/>
          <ac:spMkLst>
            <pc:docMk/>
            <pc:sldMk cId="434347707" sldId="2147375395"/>
            <ac:spMk id="20" creationId="{3D4A8DF7-6C4E-695C-EF77-2FC511186EC2}"/>
          </ac:spMkLst>
        </pc:spChg>
        <pc:spChg chg="mod">
          <ac:chgData name="Luis Moßburger" userId="2a606c2b-1031-4842-b567-351303c62b15" providerId="ADAL" clId="{074C13F4-5714-3343-8842-B2CAB59C4423}" dt="2023-11-05T16:37:36.939" v="1943"/>
          <ac:spMkLst>
            <pc:docMk/>
            <pc:sldMk cId="434347707" sldId="2147375395"/>
            <ac:spMk id="27" creationId="{D7F03116-F065-3126-B81C-1D50310121B9}"/>
          </ac:spMkLst>
        </pc:spChg>
        <pc:spChg chg="add mod">
          <ac:chgData name="Luis Moßburger" userId="2a606c2b-1031-4842-b567-351303c62b15" providerId="ADAL" clId="{074C13F4-5714-3343-8842-B2CAB59C4423}" dt="2023-11-05T16:39:15.044" v="1973" actId="14100"/>
          <ac:spMkLst>
            <pc:docMk/>
            <pc:sldMk cId="434347707" sldId="2147375395"/>
            <ac:spMk id="31" creationId="{9C86C4B6-04D9-3670-4523-529275163281}"/>
          </ac:spMkLst>
        </pc:spChg>
        <pc:spChg chg="add mod">
          <ac:chgData name="Luis Moßburger" userId="2a606c2b-1031-4842-b567-351303c62b15" providerId="ADAL" clId="{074C13F4-5714-3343-8842-B2CAB59C4423}" dt="2023-11-05T16:39:37.908" v="1992" actId="1076"/>
          <ac:spMkLst>
            <pc:docMk/>
            <pc:sldMk cId="434347707" sldId="2147375395"/>
            <ac:spMk id="32" creationId="{D4D382F1-4839-8BBC-C219-18D42723337E}"/>
          </ac:spMkLst>
        </pc:spChg>
        <pc:grpChg chg="add mod">
          <ac:chgData name="Luis Moßburger" userId="2a606c2b-1031-4842-b567-351303c62b15" providerId="ADAL" clId="{074C13F4-5714-3343-8842-B2CAB59C4423}" dt="2023-11-05T16:38:50.735" v="1962" actId="1076"/>
          <ac:grpSpMkLst>
            <pc:docMk/>
            <pc:sldMk cId="434347707" sldId="2147375395"/>
            <ac:grpSpMk id="19" creationId="{A7933B0B-30CB-B3D7-03E6-166D486EC994}"/>
          </ac:grpSpMkLst>
        </pc:grpChg>
        <pc:grpChg chg="mod">
          <ac:chgData name="Luis Moßburger" userId="2a606c2b-1031-4842-b567-351303c62b15" providerId="ADAL" clId="{074C13F4-5714-3343-8842-B2CAB59C4423}" dt="2023-11-05T16:35:20.647" v="1924"/>
          <ac:grpSpMkLst>
            <pc:docMk/>
            <pc:sldMk cId="434347707" sldId="2147375395"/>
            <ac:grpSpMk id="21" creationId="{59451DB3-9F75-1BFD-B0D0-C7DA6467EF4A}"/>
          </ac:grpSpMkLst>
        </pc:grpChg>
        <pc:grpChg chg="add mod">
          <ac:chgData name="Luis Moßburger" userId="2a606c2b-1031-4842-b567-351303c62b15" providerId="ADAL" clId="{074C13F4-5714-3343-8842-B2CAB59C4423}" dt="2023-11-05T16:38:13.573" v="1952" actId="14100"/>
          <ac:grpSpMkLst>
            <pc:docMk/>
            <pc:sldMk cId="434347707" sldId="2147375395"/>
            <ac:grpSpMk id="26" creationId="{389CFEEF-2553-0B86-64CA-1A12F6CD055A}"/>
          </ac:grpSpMkLst>
        </pc:grpChg>
        <pc:grpChg chg="mod">
          <ac:chgData name="Luis Moßburger" userId="2a606c2b-1031-4842-b567-351303c62b15" providerId="ADAL" clId="{074C13F4-5714-3343-8842-B2CAB59C4423}" dt="2023-11-05T16:37:36.939" v="1943"/>
          <ac:grpSpMkLst>
            <pc:docMk/>
            <pc:sldMk cId="434347707" sldId="2147375395"/>
            <ac:grpSpMk id="28" creationId="{961B8623-DFFD-E66D-955F-256B1EBAFDE5}"/>
          </ac:grpSpMkLst>
        </pc:grpChg>
        <pc:picChg chg="add del">
          <ac:chgData name="Luis Moßburger" userId="2a606c2b-1031-4842-b567-351303c62b15" providerId="ADAL" clId="{074C13F4-5714-3343-8842-B2CAB59C4423}" dt="2023-11-05T16:22:02.662" v="1615" actId="478"/>
          <ac:picMkLst>
            <pc:docMk/>
            <pc:sldMk cId="434347707" sldId="2147375395"/>
            <ac:picMk id="13" creationId="{B213B810-2273-E5DF-85BE-C8E256DFCFCC}"/>
          </ac:picMkLst>
        </pc:picChg>
        <pc:picChg chg="add mod modCrop">
          <ac:chgData name="Luis Moßburger" userId="2a606c2b-1031-4842-b567-351303c62b15" providerId="ADAL" clId="{074C13F4-5714-3343-8842-B2CAB59C4423}" dt="2023-11-05T16:37:13.243" v="1940" actId="1076"/>
          <ac:picMkLst>
            <pc:docMk/>
            <pc:sldMk cId="434347707" sldId="2147375395"/>
            <ac:picMk id="24" creationId="{7E9338E0-1865-F349-6663-FAD00A2874B5}"/>
          </ac:picMkLst>
        </pc:picChg>
        <pc:picChg chg="add mod">
          <ac:chgData name="Luis Moßburger" userId="2a606c2b-1031-4842-b567-351303c62b15" providerId="ADAL" clId="{074C13F4-5714-3343-8842-B2CAB59C4423}" dt="2023-11-05T16:37:19.014" v="1942" actId="1076"/>
          <ac:picMkLst>
            <pc:docMk/>
            <pc:sldMk cId="434347707" sldId="2147375395"/>
            <ac:picMk id="25" creationId="{7080BA0E-70BD-618D-905A-35B37E9C84D3}"/>
          </ac:picMkLst>
        </pc:picChg>
        <pc:picChg chg="add mod modCrop">
          <ac:chgData name="Luis Moßburger" userId="2a606c2b-1031-4842-b567-351303c62b15" providerId="ADAL" clId="{074C13F4-5714-3343-8842-B2CAB59C4423}" dt="2023-11-05T16:40:54.870" v="2000" actId="732"/>
          <ac:picMkLst>
            <pc:docMk/>
            <pc:sldMk cId="434347707" sldId="2147375395"/>
            <ac:picMk id="33" creationId="{F60FFEC8-3EF1-7B78-D30C-D58FE83A4DD7}"/>
          </ac:picMkLst>
        </pc:picChg>
        <pc:cxnChg chg="add mod">
          <ac:chgData name="Luis Moßburger" userId="2a606c2b-1031-4842-b567-351303c62b15" providerId="ADAL" clId="{074C13F4-5714-3343-8842-B2CAB59C4423}" dt="2023-11-05T16:34:53.216" v="1922" actId="692"/>
          <ac:cxnSpMkLst>
            <pc:docMk/>
            <pc:sldMk cId="434347707" sldId="2147375395"/>
            <ac:cxnSpMk id="4" creationId="{4BE8AE3E-BB76-1134-06C0-3B28075B33B4}"/>
          </ac:cxnSpMkLst>
        </pc:cxnChg>
        <pc:cxnChg chg="mod">
          <ac:chgData name="Luis Moßburger" userId="2a606c2b-1031-4842-b567-351303c62b15" providerId="ADAL" clId="{074C13F4-5714-3343-8842-B2CAB59C4423}" dt="2023-11-05T16:35:20.647" v="1924"/>
          <ac:cxnSpMkLst>
            <pc:docMk/>
            <pc:sldMk cId="434347707" sldId="2147375395"/>
            <ac:cxnSpMk id="22" creationId="{D9FE792A-DBD8-9D5E-EA7B-6DA1C4F07D10}"/>
          </ac:cxnSpMkLst>
        </pc:cxnChg>
        <pc:cxnChg chg="mod">
          <ac:chgData name="Luis Moßburger" userId="2a606c2b-1031-4842-b567-351303c62b15" providerId="ADAL" clId="{074C13F4-5714-3343-8842-B2CAB59C4423}" dt="2023-11-05T16:35:20.647" v="1924"/>
          <ac:cxnSpMkLst>
            <pc:docMk/>
            <pc:sldMk cId="434347707" sldId="2147375395"/>
            <ac:cxnSpMk id="23" creationId="{A8382B8B-DFEA-AF7F-7CF7-D617FE20566D}"/>
          </ac:cxnSpMkLst>
        </pc:cxnChg>
        <pc:cxnChg chg="mod">
          <ac:chgData name="Luis Moßburger" userId="2a606c2b-1031-4842-b567-351303c62b15" providerId="ADAL" clId="{074C13F4-5714-3343-8842-B2CAB59C4423}" dt="2023-11-05T16:37:36.939" v="1943"/>
          <ac:cxnSpMkLst>
            <pc:docMk/>
            <pc:sldMk cId="434347707" sldId="2147375395"/>
            <ac:cxnSpMk id="29" creationId="{4BE0FBA1-817F-2CE3-6A7D-0CC3962BF4F3}"/>
          </ac:cxnSpMkLst>
        </pc:cxnChg>
        <pc:cxnChg chg="mod">
          <ac:chgData name="Luis Moßburger" userId="2a606c2b-1031-4842-b567-351303c62b15" providerId="ADAL" clId="{074C13F4-5714-3343-8842-B2CAB59C4423}" dt="2023-11-05T16:37:36.939" v="1943"/>
          <ac:cxnSpMkLst>
            <pc:docMk/>
            <pc:sldMk cId="434347707" sldId="2147375395"/>
            <ac:cxnSpMk id="30" creationId="{56995A26-8F16-7700-9532-ED08F431EEDD}"/>
          </ac:cxnSpMkLst>
        </pc:cxnChg>
      </pc:sldChg>
      <pc:sldChg chg="addSp delSp modSp add mod">
        <pc:chgData name="Luis Moßburger" userId="2a606c2b-1031-4842-b567-351303c62b15" providerId="ADAL" clId="{074C13F4-5714-3343-8842-B2CAB59C4423}" dt="2023-11-05T16:44:47.057" v="2069"/>
        <pc:sldMkLst>
          <pc:docMk/>
          <pc:sldMk cId="4139311399" sldId="2147375396"/>
        </pc:sldMkLst>
        <pc:spChg chg="add mod">
          <ac:chgData name="Luis Moßburger" userId="2a606c2b-1031-4842-b567-351303c62b15" providerId="ADAL" clId="{074C13F4-5714-3343-8842-B2CAB59C4423}" dt="2023-11-05T16:41:42.847" v="2028" actId="20577"/>
          <ac:spMkLst>
            <pc:docMk/>
            <pc:sldMk cId="4139311399" sldId="2147375396"/>
            <ac:spMk id="2" creationId="{7FE6C2E2-BD03-94F4-0424-0D3DEB50C0B8}"/>
          </ac:spMkLst>
        </pc:spChg>
        <pc:spChg chg="mod">
          <ac:chgData name="Luis Moßburger" userId="2a606c2b-1031-4842-b567-351303c62b15" providerId="ADAL" clId="{074C13F4-5714-3343-8842-B2CAB59C4423}" dt="2023-11-05T16:43:07.155" v="2061" actId="1037"/>
          <ac:spMkLst>
            <pc:docMk/>
            <pc:sldMk cId="4139311399" sldId="2147375396"/>
            <ac:spMk id="14" creationId="{8FDF2060-9C67-6D4B-922A-30A863EEB128}"/>
          </ac:spMkLst>
        </pc:spChg>
        <pc:spChg chg="del mod">
          <ac:chgData name="Luis Moßburger" userId="2a606c2b-1031-4842-b567-351303c62b15" providerId="ADAL" clId="{074C13F4-5714-3343-8842-B2CAB59C4423}" dt="2023-11-05T16:41:53.683" v="2031" actId="478"/>
          <ac:spMkLst>
            <pc:docMk/>
            <pc:sldMk cId="4139311399" sldId="2147375396"/>
            <ac:spMk id="15" creationId="{613BB667-45EF-D884-C162-E98E5214D54F}"/>
          </ac:spMkLst>
        </pc:spChg>
        <pc:spChg chg="del">
          <ac:chgData name="Luis Moßburger" userId="2a606c2b-1031-4842-b567-351303c62b15" providerId="ADAL" clId="{074C13F4-5714-3343-8842-B2CAB59C4423}" dt="2023-11-05T16:41:19.593" v="2005" actId="478"/>
          <ac:spMkLst>
            <pc:docMk/>
            <pc:sldMk cId="4139311399" sldId="2147375396"/>
            <ac:spMk id="31" creationId="{9C86C4B6-04D9-3670-4523-529275163281}"/>
          </ac:spMkLst>
        </pc:spChg>
        <pc:spChg chg="del">
          <ac:chgData name="Luis Moßburger" userId="2a606c2b-1031-4842-b567-351303c62b15" providerId="ADAL" clId="{074C13F4-5714-3343-8842-B2CAB59C4423}" dt="2023-11-05T16:41:12.388" v="2004" actId="478"/>
          <ac:spMkLst>
            <pc:docMk/>
            <pc:sldMk cId="4139311399" sldId="2147375396"/>
            <ac:spMk id="32" creationId="{D4D382F1-4839-8BBC-C219-18D42723337E}"/>
          </ac:spMkLst>
        </pc:spChg>
        <pc:grpChg chg="del">
          <ac:chgData name="Luis Moßburger" userId="2a606c2b-1031-4842-b567-351303c62b15" providerId="ADAL" clId="{074C13F4-5714-3343-8842-B2CAB59C4423}" dt="2023-11-05T16:41:12.388" v="2004" actId="478"/>
          <ac:grpSpMkLst>
            <pc:docMk/>
            <pc:sldMk cId="4139311399" sldId="2147375396"/>
            <ac:grpSpMk id="19" creationId="{A7933B0B-30CB-B3D7-03E6-166D486EC994}"/>
          </ac:grpSpMkLst>
        </pc:grpChg>
        <pc:grpChg chg="del">
          <ac:chgData name="Luis Moßburger" userId="2a606c2b-1031-4842-b567-351303c62b15" providerId="ADAL" clId="{074C13F4-5714-3343-8842-B2CAB59C4423}" dt="2023-11-05T16:41:19.593" v="2005" actId="478"/>
          <ac:grpSpMkLst>
            <pc:docMk/>
            <pc:sldMk cId="4139311399" sldId="2147375396"/>
            <ac:grpSpMk id="26" creationId="{389CFEEF-2553-0B86-64CA-1A12F6CD055A}"/>
          </ac:grpSpMkLst>
        </pc:grpChg>
        <pc:picChg chg="del">
          <ac:chgData name="Luis Moßburger" userId="2a606c2b-1031-4842-b567-351303c62b15" providerId="ADAL" clId="{074C13F4-5714-3343-8842-B2CAB59C4423}" dt="2023-11-05T16:41:04.707" v="2003" actId="478"/>
          <ac:picMkLst>
            <pc:docMk/>
            <pc:sldMk cId="4139311399" sldId="2147375396"/>
            <ac:picMk id="24" creationId="{7E9338E0-1865-F349-6663-FAD00A2874B5}"/>
          </ac:picMkLst>
        </pc:picChg>
        <pc:picChg chg="del">
          <ac:chgData name="Luis Moßburger" userId="2a606c2b-1031-4842-b567-351303c62b15" providerId="ADAL" clId="{074C13F4-5714-3343-8842-B2CAB59C4423}" dt="2023-11-05T16:41:03.356" v="2002" actId="478"/>
          <ac:picMkLst>
            <pc:docMk/>
            <pc:sldMk cId="4139311399" sldId="2147375396"/>
            <ac:picMk id="25" creationId="{7080BA0E-70BD-618D-905A-35B37E9C84D3}"/>
          </ac:picMkLst>
        </pc:picChg>
        <pc:picChg chg="mod">
          <ac:chgData name="Luis Moßburger" userId="2a606c2b-1031-4842-b567-351303c62b15" providerId="ADAL" clId="{074C13F4-5714-3343-8842-B2CAB59C4423}" dt="2023-11-05T16:44:47.057" v="2069"/>
          <ac:picMkLst>
            <pc:docMk/>
            <pc:sldMk cId="4139311399" sldId="2147375396"/>
            <ac:picMk id="33" creationId="{F60FFEC8-3EF1-7B78-D30C-D58FE83A4DD7}"/>
          </ac:picMkLst>
        </pc:picChg>
      </pc:sldChg>
      <pc:sldChg chg="add">
        <pc:chgData name="Luis Moßburger" userId="2a606c2b-1031-4842-b567-351303c62b15" providerId="ADAL" clId="{074C13F4-5714-3343-8842-B2CAB59C4423}" dt="2023-11-05T16:45:46.085" v="2087"/>
        <pc:sldMkLst>
          <pc:docMk/>
          <pc:sldMk cId="2862999593" sldId="2147375397"/>
        </pc:sldMkLst>
      </pc:sldChg>
      <pc:sldChg chg="add del">
        <pc:chgData name="Luis Moßburger" userId="2a606c2b-1031-4842-b567-351303c62b15" providerId="ADAL" clId="{074C13F4-5714-3343-8842-B2CAB59C4423}" dt="2023-11-05T16:46:14.516" v="2095"/>
        <pc:sldMkLst>
          <pc:docMk/>
          <pc:sldMk cId="1358345772" sldId="2147375398"/>
        </pc:sldMkLst>
      </pc:sldChg>
      <pc:sldChg chg="add">
        <pc:chgData name="Luis Moßburger" userId="2a606c2b-1031-4842-b567-351303c62b15" providerId="ADAL" clId="{074C13F4-5714-3343-8842-B2CAB59C4423}" dt="2023-11-05T16:46:16.019" v="2096"/>
        <pc:sldMkLst>
          <pc:docMk/>
          <pc:sldMk cId="4015617848" sldId="2147375398"/>
        </pc:sldMkLst>
      </pc:sldChg>
      <pc:sldChg chg="addSp delSp modSp add mod ord">
        <pc:chgData name="Luis Moßburger" userId="2a606c2b-1031-4842-b567-351303c62b15" providerId="ADAL" clId="{074C13F4-5714-3343-8842-B2CAB59C4423}" dt="2023-11-05T17:21:28.952" v="2580" actId="478"/>
        <pc:sldMkLst>
          <pc:docMk/>
          <pc:sldMk cId="528067692" sldId="2147375399"/>
        </pc:sldMkLst>
        <pc:spChg chg="mod">
          <ac:chgData name="Luis Moßburger" userId="2a606c2b-1031-4842-b567-351303c62b15" providerId="ADAL" clId="{074C13F4-5714-3343-8842-B2CAB59C4423}" dt="2023-11-05T17:08:17.278" v="2278" actId="20577"/>
          <ac:spMkLst>
            <pc:docMk/>
            <pc:sldMk cId="528067692" sldId="2147375399"/>
            <ac:spMk id="7" creationId="{BE42361A-F3BD-4CBA-80E8-876B421A26E0}"/>
          </ac:spMkLst>
        </pc:spChg>
        <pc:spChg chg="del">
          <ac:chgData name="Luis Moßburger" userId="2a606c2b-1031-4842-b567-351303c62b15" providerId="ADAL" clId="{074C13F4-5714-3343-8842-B2CAB59C4423}" dt="2023-11-05T17:08:42.517" v="2279" actId="478"/>
          <ac:spMkLst>
            <pc:docMk/>
            <pc:sldMk cId="528067692" sldId="2147375399"/>
            <ac:spMk id="10" creationId="{C857A4A4-B083-F818-A05C-6E7725005650}"/>
          </ac:spMkLst>
        </pc:spChg>
        <pc:spChg chg="del">
          <ac:chgData name="Luis Moßburger" userId="2a606c2b-1031-4842-b567-351303c62b15" providerId="ADAL" clId="{074C13F4-5714-3343-8842-B2CAB59C4423}" dt="2023-11-05T17:08:42.517" v="2279" actId="478"/>
          <ac:spMkLst>
            <pc:docMk/>
            <pc:sldMk cId="528067692" sldId="2147375399"/>
            <ac:spMk id="11" creationId="{7865A325-2FF7-EB48-12F7-94D33937787A}"/>
          </ac:spMkLst>
        </pc:spChg>
        <pc:spChg chg="del">
          <ac:chgData name="Luis Moßburger" userId="2a606c2b-1031-4842-b567-351303c62b15" providerId="ADAL" clId="{074C13F4-5714-3343-8842-B2CAB59C4423}" dt="2023-11-05T17:08:42.517" v="2279" actId="478"/>
          <ac:spMkLst>
            <pc:docMk/>
            <pc:sldMk cId="528067692" sldId="2147375399"/>
            <ac:spMk id="12" creationId="{1D1F87BE-D7F4-42C4-96F6-B7C1EA5ECA31}"/>
          </ac:spMkLst>
        </pc:spChg>
        <pc:spChg chg="del">
          <ac:chgData name="Luis Moßburger" userId="2a606c2b-1031-4842-b567-351303c62b15" providerId="ADAL" clId="{074C13F4-5714-3343-8842-B2CAB59C4423}" dt="2023-11-05T17:08:42.517" v="2279" actId="478"/>
          <ac:spMkLst>
            <pc:docMk/>
            <pc:sldMk cId="528067692" sldId="2147375399"/>
            <ac:spMk id="13" creationId="{55CCE1FD-6735-EB62-3DCB-EC299FB33612}"/>
          </ac:spMkLst>
        </pc:spChg>
        <pc:spChg chg="add mod">
          <ac:chgData name="Luis Moßburger" userId="2a606c2b-1031-4842-b567-351303c62b15" providerId="ADAL" clId="{074C13F4-5714-3343-8842-B2CAB59C4423}" dt="2023-11-05T17:20:48.806" v="2573" actId="20577"/>
          <ac:spMkLst>
            <pc:docMk/>
            <pc:sldMk cId="528067692" sldId="2147375399"/>
            <ac:spMk id="17" creationId="{EF9FE7DC-AF92-EEDC-C67C-E4786AAE3FBF}"/>
          </ac:spMkLst>
        </pc:spChg>
        <pc:spChg chg="add del mod">
          <ac:chgData name="Luis Moßburger" userId="2a606c2b-1031-4842-b567-351303c62b15" providerId="ADAL" clId="{074C13F4-5714-3343-8842-B2CAB59C4423}" dt="2023-11-05T17:19:40.792" v="2552" actId="478"/>
          <ac:spMkLst>
            <pc:docMk/>
            <pc:sldMk cId="528067692" sldId="2147375399"/>
            <ac:spMk id="18" creationId="{D7B98F54-C654-623A-BD3B-C982BA28814F}"/>
          </ac:spMkLst>
        </pc:spChg>
        <pc:spChg chg="del">
          <ac:chgData name="Luis Moßburger" userId="2a606c2b-1031-4842-b567-351303c62b15" providerId="ADAL" clId="{074C13F4-5714-3343-8842-B2CAB59C4423}" dt="2023-11-05T17:08:42.517" v="2279" actId="478"/>
          <ac:spMkLst>
            <pc:docMk/>
            <pc:sldMk cId="528067692" sldId="2147375399"/>
            <ac:spMk id="25" creationId="{7D8918C2-631E-8413-7447-E5021F4AF540}"/>
          </ac:spMkLst>
        </pc:spChg>
        <pc:spChg chg="del">
          <ac:chgData name="Luis Moßburger" userId="2a606c2b-1031-4842-b567-351303c62b15" providerId="ADAL" clId="{074C13F4-5714-3343-8842-B2CAB59C4423}" dt="2023-11-05T17:08:42.517" v="2279" actId="478"/>
          <ac:spMkLst>
            <pc:docMk/>
            <pc:sldMk cId="528067692" sldId="2147375399"/>
            <ac:spMk id="27" creationId="{4937EC35-F7DF-D37F-9210-A9DDD1CC1CAB}"/>
          </ac:spMkLst>
        </pc:spChg>
        <pc:spChg chg="del">
          <ac:chgData name="Luis Moßburger" userId="2a606c2b-1031-4842-b567-351303c62b15" providerId="ADAL" clId="{074C13F4-5714-3343-8842-B2CAB59C4423}" dt="2023-11-05T17:08:42.517" v="2279" actId="478"/>
          <ac:spMkLst>
            <pc:docMk/>
            <pc:sldMk cId="528067692" sldId="2147375399"/>
            <ac:spMk id="28" creationId="{1FC97097-75F9-97B4-285B-4A3566002D82}"/>
          </ac:spMkLst>
        </pc:spChg>
        <pc:spChg chg="del">
          <ac:chgData name="Luis Moßburger" userId="2a606c2b-1031-4842-b567-351303c62b15" providerId="ADAL" clId="{074C13F4-5714-3343-8842-B2CAB59C4423}" dt="2023-11-05T17:08:42.517" v="2279" actId="478"/>
          <ac:spMkLst>
            <pc:docMk/>
            <pc:sldMk cId="528067692" sldId="2147375399"/>
            <ac:spMk id="29" creationId="{1DD11498-C3A8-8660-9975-E2EC6721D59A}"/>
          </ac:spMkLst>
        </pc:spChg>
        <pc:spChg chg="del">
          <ac:chgData name="Luis Moßburger" userId="2a606c2b-1031-4842-b567-351303c62b15" providerId="ADAL" clId="{074C13F4-5714-3343-8842-B2CAB59C4423}" dt="2023-11-05T17:08:42.517" v="2279" actId="478"/>
          <ac:spMkLst>
            <pc:docMk/>
            <pc:sldMk cId="528067692" sldId="2147375399"/>
            <ac:spMk id="30" creationId="{7B930138-B99F-2308-8F50-15FA565A83ED}"/>
          </ac:spMkLst>
        </pc:spChg>
        <pc:spChg chg="del">
          <ac:chgData name="Luis Moßburger" userId="2a606c2b-1031-4842-b567-351303c62b15" providerId="ADAL" clId="{074C13F4-5714-3343-8842-B2CAB59C4423}" dt="2023-11-05T17:08:42.517" v="2279" actId="478"/>
          <ac:spMkLst>
            <pc:docMk/>
            <pc:sldMk cId="528067692" sldId="2147375399"/>
            <ac:spMk id="32" creationId="{BFC5D80A-3BE3-1C52-6007-92EBC85F2574}"/>
          </ac:spMkLst>
        </pc:spChg>
        <pc:spChg chg="del">
          <ac:chgData name="Luis Moßburger" userId="2a606c2b-1031-4842-b567-351303c62b15" providerId="ADAL" clId="{074C13F4-5714-3343-8842-B2CAB59C4423}" dt="2023-11-05T17:08:42.517" v="2279" actId="478"/>
          <ac:spMkLst>
            <pc:docMk/>
            <pc:sldMk cId="528067692" sldId="2147375399"/>
            <ac:spMk id="34" creationId="{7A55A28A-4932-E44F-87E7-5DA8C687C940}"/>
          </ac:spMkLst>
        </pc:spChg>
        <pc:grpChg chg="add del mod">
          <ac:chgData name="Luis Moßburger" userId="2a606c2b-1031-4842-b567-351303c62b15" providerId="ADAL" clId="{074C13F4-5714-3343-8842-B2CAB59C4423}" dt="2023-11-05T17:16:52.685" v="2541" actId="165"/>
          <ac:grpSpMkLst>
            <pc:docMk/>
            <pc:sldMk cId="528067692" sldId="2147375399"/>
            <ac:grpSpMk id="16" creationId="{21F0066F-D1DA-79AC-10B2-C1CC6EF5962C}"/>
          </ac:grpSpMkLst>
        </pc:grpChg>
        <pc:picChg chg="add mod topLvl modCrop">
          <ac:chgData name="Luis Moßburger" userId="2a606c2b-1031-4842-b567-351303c62b15" providerId="ADAL" clId="{074C13F4-5714-3343-8842-B2CAB59C4423}" dt="2023-11-05T17:19:56.962" v="2554" actId="1076"/>
          <ac:picMkLst>
            <pc:docMk/>
            <pc:sldMk cId="528067692" sldId="2147375399"/>
            <ac:picMk id="14" creationId="{ADFC8E29-E09B-9ADA-6526-B04D1BFCA2ED}"/>
          </ac:picMkLst>
        </pc:picChg>
        <pc:picChg chg="add del mod topLvl">
          <ac:chgData name="Luis Moßburger" userId="2a606c2b-1031-4842-b567-351303c62b15" providerId="ADAL" clId="{074C13F4-5714-3343-8842-B2CAB59C4423}" dt="2023-11-05T17:19:40.792" v="2552" actId="478"/>
          <ac:picMkLst>
            <pc:docMk/>
            <pc:sldMk cId="528067692" sldId="2147375399"/>
            <ac:picMk id="15" creationId="{CB0D827A-979F-0347-1182-3EE41F9509C7}"/>
          </ac:picMkLst>
        </pc:picChg>
        <pc:picChg chg="add del mod">
          <ac:chgData name="Luis Moßburger" userId="2a606c2b-1031-4842-b567-351303c62b15" providerId="ADAL" clId="{074C13F4-5714-3343-8842-B2CAB59C4423}" dt="2023-11-05T17:21:28.952" v="2580" actId="478"/>
          <ac:picMkLst>
            <pc:docMk/>
            <pc:sldMk cId="528067692" sldId="2147375399"/>
            <ac:picMk id="19" creationId="{1CA4EDDB-67AF-805B-C707-63A4CDBB7A7A}"/>
          </ac:picMkLst>
        </pc:picChg>
        <pc:picChg chg="del">
          <ac:chgData name="Luis Moßburger" userId="2a606c2b-1031-4842-b567-351303c62b15" providerId="ADAL" clId="{074C13F4-5714-3343-8842-B2CAB59C4423}" dt="2023-11-05T17:08:42.517" v="2279" actId="478"/>
          <ac:picMkLst>
            <pc:docMk/>
            <pc:sldMk cId="528067692" sldId="2147375399"/>
            <ac:picMk id="21" creationId="{3DFE69C6-7615-F259-1869-C13789D718F9}"/>
          </ac:picMkLst>
        </pc:picChg>
        <pc:picChg chg="del">
          <ac:chgData name="Luis Moßburger" userId="2a606c2b-1031-4842-b567-351303c62b15" providerId="ADAL" clId="{074C13F4-5714-3343-8842-B2CAB59C4423}" dt="2023-11-05T17:08:42.517" v="2279" actId="478"/>
          <ac:picMkLst>
            <pc:docMk/>
            <pc:sldMk cId="528067692" sldId="2147375399"/>
            <ac:picMk id="22" creationId="{804BF7BE-D8FF-C755-D1AD-193E327BF3A5}"/>
          </ac:picMkLst>
        </pc:picChg>
        <pc:picChg chg="del">
          <ac:chgData name="Luis Moßburger" userId="2a606c2b-1031-4842-b567-351303c62b15" providerId="ADAL" clId="{074C13F4-5714-3343-8842-B2CAB59C4423}" dt="2023-11-05T17:08:42.517" v="2279" actId="478"/>
          <ac:picMkLst>
            <pc:docMk/>
            <pc:sldMk cId="528067692" sldId="2147375399"/>
            <ac:picMk id="23" creationId="{BDC44C5F-9355-E4B0-AE1B-FCEA9AD3AD12}"/>
          </ac:picMkLst>
        </pc:picChg>
        <pc:picChg chg="del">
          <ac:chgData name="Luis Moßburger" userId="2a606c2b-1031-4842-b567-351303c62b15" providerId="ADAL" clId="{074C13F4-5714-3343-8842-B2CAB59C4423}" dt="2023-11-05T17:08:42.517" v="2279" actId="478"/>
          <ac:picMkLst>
            <pc:docMk/>
            <pc:sldMk cId="528067692" sldId="2147375399"/>
            <ac:picMk id="1026" creationId="{C406211B-9728-BEE1-48D9-7BA5E6A257D0}"/>
          </ac:picMkLst>
        </pc:picChg>
        <pc:picChg chg="del">
          <ac:chgData name="Luis Moßburger" userId="2a606c2b-1031-4842-b567-351303c62b15" providerId="ADAL" clId="{074C13F4-5714-3343-8842-B2CAB59C4423}" dt="2023-11-05T17:08:42.517" v="2279" actId="478"/>
          <ac:picMkLst>
            <pc:docMk/>
            <pc:sldMk cId="528067692" sldId="2147375399"/>
            <ac:picMk id="1027" creationId="{A976315F-7CFF-FE8B-AE21-CC8870AD9721}"/>
          </ac:picMkLst>
        </pc:picChg>
      </pc:sldChg>
      <pc:sldChg chg="addSp delSp modSp add del mod ord">
        <pc:chgData name="Luis Moßburger" userId="2a606c2b-1031-4842-b567-351303c62b15" providerId="ADAL" clId="{074C13F4-5714-3343-8842-B2CAB59C4423}" dt="2023-11-05T17:45:27.341" v="3205" actId="2696"/>
        <pc:sldMkLst>
          <pc:docMk/>
          <pc:sldMk cId="3409601716" sldId="2147375400"/>
        </pc:sldMkLst>
        <pc:spChg chg="add del">
          <ac:chgData name="Luis Moßburger" userId="2a606c2b-1031-4842-b567-351303c62b15" providerId="ADAL" clId="{074C13F4-5714-3343-8842-B2CAB59C4423}" dt="2023-11-05T17:34:04.311" v="2844" actId="478"/>
          <ac:spMkLst>
            <pc:docMk/>
            <pc:sldMk cId="3409601716" sldId="2147375400"/>
            <ac:spMk id="6" creationId="{FDC03DE5-4339-45C2-39C3-2DF2A14C8ECD}"/>
          </ac:spMkLst>
        </pc:spChg>
        <pc:spChg chg="add del mod">
          <ac:chgData name="Luis Moßburger" userId="2a606c2b-1031-4842-b567-351303c62b15" providerId="ADAL" clId="{074C13F4-5714-3343-8842-B2CAB59C4423}" dt="2023-11-05T17:31:23.443" v="2830" actId="478"/>
          <ac:spMkLst>
            <pc:docMk/>
            <pc:sldMk cId="3409601716" sldId="2147375400"/>
            <ac:spMk id="10" creationId="{45667831-948E-EF53-0ADC-BC246FAE16E3}"/>
          </ac:spMkLst>
        </pc:spChg>
        <pc:spChg chg="del">
          <ac:chgData name="Luis Moßburger" userId="2a606c2b-1031-4842-b567-351303c62b15" providerId="ADAL" clId="{074C13F4-5714-3343-8842-B2CAB59C4423}" dt="2023-11-05T17:21:14.065" v="2577" actId="478"/>
          <ac:spMkLst>
            <pc:docMk/>
            <pc:sldMk cId="3409601716" sldId="2147375400"/>
            <ac:spMk id="17" creationId="{EF9FE7DC-AF92-EEDC-C67C-E4786AAE3FBF}"/>
          </ac:spMkLst>
        </pc:spChg>
        <pc:spChg chg="del">
          <ac:chgData name="Luis Moßburger" userId="2a606c2b-1031-4842-b567-351303c62b15" providerId="ADAL" clId="{074C13F4-5714-3343-8842-B2CAB59C4423}" dt="2023-11-05T17:21:37.746" v="2583" actId="478"/>
          <ac:spMkLst>
            <pc:docMk/>
            <pc:sldMk cId="3409601716" sldId="2147375400"/>
            <ac:spMk id="18" creationId="{D7B98F54-C654-623A-BD3B-C982BA28814F}"/>
          </ac:spMkLst>
        </pc:spChg>
        <pc:picChg chg="add del mod">
          <ac:chgData name="Luis Moßburger" userId="2a606c2b-1031-4842-b567-351303c62b15" providerId="ADAL" clId="{074C13F4-5714-3343-8842-B2CAB59C4423}" dt="2023-11-05T17:31:19.027" v="2827" actId="478"/>
          <ac:picMkLst>
            <pc:docMk/>
            <pc:sldMk cId="3409601716" sldId="2147375400"/>
            <ac:picMk id="8" creationId="{FA6DA33C-C7DE-8B85-1B6E-292A775DC3C9}"/>
          </ac:picMkLst>
        </pc:picChg>
        <pc:picChg chg="add del mod">
          <ac:chgData name="Luis Moßburger" userId="2a606c2b-1031-4842-b567-351303c62b15" providerId="ADAL" clId="{074C13F4-5714-3343-8842-B2CAB59C4423}" dt="2023-11-05T17:31:17.601" v="2826" actId="478"/>
          <ac:picMkLst>
            <pc:docMk/>
            <pc:sldMk cId="3409601716" sldId="2147375400"/>
            <ac:picMk id="11" creationId="{2CEF1FF7-145A-8541-C6F5-8E919DB90F78}"/>
          </ac:picMkLst>
        </pc:picChg>
        <pc:picChg chg="add mod">
          <ac:chgData name="Luis Moßburger" userId="2a606c2b-1031-4842-b567-351303c62b15" providerId="ADAL" clId="{074C13F4-5714-3343-8842-B2CAB59C4423}" dt="2023-11-05T17:31:38.457" v="2834" actId="14100"/>
          <ac:picMkLst>
            <pc:docMk/>
            <pc:sldMk cId="3409601716" sldId="2147375400"/>
            <ac:picMk id="12" creationId="{8CB6CAE8-4ECD-CFED-4806-8EB54C0E0FD9}"/>
          </ac:picMkLst>
        </pc:picChg>
        <pc:picChg chg="del">
          <ac:chgData name="Luis Moßburger" userId="2a606c2b-1031-4842-b567-351303c62b15" providerId="ADAL" clId="{074C13F4-5714-3343-8842-B2CAB59C4423}" dt="2023-11-05T17:21:14.065" v="2577" actId="478"/>
          <ac:picMkLst>
            <pc:docMk/>
            <pc:sldMk cId="3409601716" sldId="2147375400"/>
            <ac:picMk id="14" creationId="{ADFC8E29-E09B-9ADA-6526-B04D1BFCA2ED}"/>
          </ac:picMkLst>
        </pc:picChg>
        <pc:picChg chg="del">
          <ac:chgData name="Luis Moßburger" userId="2a606c2b-1031-4842-b567-351303c62b15" providerId="ADAL" clId="{074C13F4-5714-3343-8842-B2CAB59C4423}" dt="2023-11-05T17:21:32.343" v="2582" actId="478"/>
          <ac:picMkLst>
            <pc:docMk/>
            <pc:sldMk cId="3409601716" sldId="2147375400"/>
            <ac:picMk id="15" creationId="{CB0D827A-979F-0347-1182-3EE41F9509C7}"/>
          </ac:picMkLst>
        </pc:picChg>
        <pc:picChg chg="add mod">
          <ac:chgData name="Luis Moßburger" userId="2a606c2b-1031-4842-b567-351303c62b15" providerId="ADAL" clId="{074C13F4-5714-3343-8842-B2CAB59C4423}" dt="2023-11-05T17:32:16.879" v="2839" actId="1076"/>
          <ac:picMkLst>
            <pc:docMk/>
            <pc:sldMk cId="3409601716" sldId="2147375400"/>
            <ac:picMk id="2050" creationId="{3C5C6817-A363-2A26-986D-11E6E9B8FD09}"/>
          </ac:picMkLst>
        </pc:picChg>
        <pc:picChg chg="add mod">
          <ac:chgData name="Luis Moßburger" userId="2a606c2b-1031-4842-b567-351303c62b15" providerId="ADAL" clId="{074C13F4-5714-3343-8842-B2CAB59C4423}" dt="2023-11-05T17:33:48.715" v="2842" actId="1076"/>
          <ac:picMkLst>
            <pc:docMk/>
            <pc:sldMk cId="3409601716" sldId="2147375400"/>
            <ac:picMk id="2052" creationId="{250DB9A3-AFF9-739F-B57E-7FA89C8F3055}"/>
          </ac:picMkLst>
        </pc:picChg>
      </pc:sldChg>
      <pc:sldChg chg="add ord">
        <pc:chgData name="Luis Moßburger" userId="2a606c2b-1031-4842-b567-351303c62b15" providerId="ADAL" clId="{074C13F4-5714-3343-8842-B2CAB59C4423}" dt="2023-11-05T17:45:31.578" v="3206" actId="20578"/>
        <pc:sldMkLst>
          <pc:docMk/>
          <pc:sldMk cId="3320957648" sldId="2147375401"/>
        </pc:sldMkLst>
      </pc:sldChg>
      <pc:sldChg chg="addSp delSp modSp new mod modAnim">
        <pc:chgData name="Luis Moßburger" userId="2a606c2b-1031-4842-b567-351303c62b15" providerId="ADAL" clId="{074C13F4-5714-3343-8842-B2CAB59C4423}" dt="2023-11-05T17:45:49.754" v="3207"/>
        <pc:sldMkLst>
          <pc:docMk/>
          <pc:sldMk cId="4294104980" sldId="2147375402"/>
        </pc:sldMkLst>
        <pc:spChg chg="del">
          <ac:chgData name="Luis Moßburger" userId="2a606c2b-1031-4842-b567-351303c62b15" providerId="ADAL" clId="{074C13F4-5714-3343-8842-B2CAB59C4423}" dt="2023-11-05T17:34:21.319" v="2847" actId="478"/>
          <ac:spMkLst>
            <pc:docMk/>
            <pc:sldMk cId="4294104980" sldId="2147375402"/>
            <ac:spMk id="2" creationId="{CAB48E2C-EADB-5B6D-2E94-C8AF6DF1AAF7}"/>
          </ac:spMkLst>
        </pc:spChg>
        <pc:spChg chg="del mod">
          <ac:chgData name="Luis Moßburger" userId="2a606c2b-1031-4842-b567-351303c62b15" providerId="ADAL" clId="{074C13F4-5714-3343-8842-B2CAB59C4423}" dt="2023-11-05T17:44:51.234" v="3170" actId="478"/>
          <ac:spMkLst>
            <pc:docMk/>
            <pc:sldMk cId="4294104980" sldId="2147375402"/>
            <ac:spMk id="3" creationId="{DE619A82-15E4-D843-A285-A81368343A80}"/>
          </ac:spMkLst>
        </pc:spChg>
        <pc:spChg chg="del mod">
          <ac:chgData name="Luis Moßburger" userId="2a606c2b-1031-4842-b567-351303c62b15" providerId="ADAL" clId="{074C13F4-5714-3343-8842-B2CAB59C4423}" dt="2023-11-05T17:44:48.441" v="3169" actId="478"/>
          <ac:spMkLst>
            <pc:docMk/>
            <pc:sldMk cId="4294104980" sldId="2147375402"/>
            <ac:spMk id="4" creationId="{A30B1615-44CC-D143-3C42-17607BD42E13}"/>
          </ac:spMkLst>
        </pc:spChg>
        <pc:spChg chg="add mod">
          <ac:chgData name="Luis Moßburger" userId="2a606c2b-1031-4842-b567-351303c62b15" providerId="ADAL" clId="{074C13F4-5714-3343-8842-B2CAB59C4423}" dt="2023-11-05T17:34:18.995" v="2846"/>
          <ac:spMkLst>
            <pc:docMk/>
            <pc:sldMk cId="4294104980" sldId="2147375402"/>
            <ac:spMk id="5" creationId="{6813C067-0CE4-63D3-B2D9-E09D7E77C476}"/>
          </ac:spMkLst>
        </pc:spChg>
        <pc:spChg chg="add mod">
          <ac:chgData name="Luis Moßburger" userId="2a606c2b-1031-4842-b567-351303c62b15" providerId="ADAL" clId="{074C13F4-5714-3343-8842-B2CAB59C4423}" dt="2023-11-05T17:34:41.566" v="2852" actId="14100"/>
          <ac:spMkLst>
            <pc:docMk/>
            <pc:sldMk cId="4294104980" sldId="2147375402"/>
            <ac:spMk id="9" creationId="{ADC71097-678D-8F5E-B863-6C932D116DE6}"/>
          </ac:spMkLst>
        </pc:spChg>
        <pc:spChg chg="add mod">
          <ac:chgData name="Luis Moßburger" userId="2a606c2b-1031-4842-b567-351303c62b15" providerId="ADAL" clId="{074C13F4-5714-3343-8842-B2CAB59C4423}" dt="2023-11-05T17:45:21.897" v="3204" actId="1036"/>
          <ac:spMkLst>
            <pc:docMk/>
            <pc:sldMk cId="4294104980" sldId="2147375402"/>
            <ac:spMk id="11" creationId="{B00C8F78-B45E-BBB7-BE97-884F66544D43}"/>
          </ac:spMkLst>
        </pc:spChg>
        <pc:spChg chg="add del mod">
          <ac:chgData name="Luis Moßburger" userId="2a606c2b-1031-4842-b567-351303c62b15" providerId="ADAL" clId="{074C13F4-5714-3343-8842-B2CAB59C4423}" dt="2023-11-05T17:37:01.261" v="2885" actId="478"/>
          <ac:spMkLst>
            <pc:docMk/>
            <pc:sldMk cId="4294104980" sldId="2147375402"/>
            <ac:spMk id="12" creationId="{49E54B71-8DDE-F7E3-7666-7EB96229FC9D}"/>
          </ac:spMkLst>
        </pc:spChg>
        <pc:spChg chg="add del mod">
          <ac:chgData name="Luis Moßburger" userId="2a606c2b-1031-4842-b567-351303c62b15" providerId="ADAL" clId="{074C13F4-5714-3343-8842-B2CAB59C4423}" dt="2023-11-05T17:37:16.870" v="2890" actId="478"/>
          <ac:spMkLst>
            <pc:docMk/>
            <pc:sldMk cId="4294104980" sldId="2147375402"/>
            <ac:spMk id="13" creationId="{0AB4A0B5-71FB-EB53-BAAF-30EB4B0DAE9D}"/>
          </ac:spMkLst>
        </pc:spChg>
        <pc:spChg chg="add mod">
          <ac:chgData name="Luis Moßburger" userId="2a606c2b-1031-4842-b567-351303c62b15" providerId="ADAL" clId="{074C13F4-5714-3343-8842-B2CAB59C4423}" dt="2023-11-05T17:45:21.897" v="3204" actId="1036"/>
          <ac:spMkLst>
            <pc:docMk/>
            <pc:sldMk cId="4294104980" sldId="2147375402"/>
            <ac:spMk id="14" creationId="{0F5D61EE-3161-18F3-730E-98B7D6A971EE}"/>
          </ac:spMkLst>
        </pc:spChg>
        <pc:spChg chg="add del">
          <ac:chgData name="Luis Moßburger" userId="2a606c2b-1031-4842-b567-351303c62b15" providerId="ADAL" clId="{074C13F4-5714-3343-8842-B2CAB59C4423}" dt="2023-11-05T17:37:48.377" v="2895" actId="478"/>
          <ac:spMkLst>
            <pc:docMk/>
            <pc:sldMk cId="4294104980" sldId="2147375402"/>
            <ac:spMk id="16" creationId="{36D3DDDE-423B-52FD-4039-5CF971B255F0}"/>
          </ac:spMkLst>
        </pc:spChg>
        <pc:spChg chg="add mod">
          <ac:chgData name="Luis Moßburger" userId="2a606c2b-1031-4842-b567-351303c62b15" providerId="ADAL" clId="{074C13F4-5714-3343-8842-B2CAB59C4423}" dt="2023-11-05T17:45:21.897" v="3204" actId="1036"/>
          <ac:spMkLst>
            <pc:docMk/>
            <pc:sldMk cId="4294104980" sldId="2147375402"/>
            <ac:spMk id="18" creationId="{9448EBEA-66E1-5089-133C-1D0F044BD917}"/>
          </ac:spMkLst>
        </pc:spChg>
        <pc:spChg chg="add mod">
          <ac:chgData name="Luis Moßburger" userId="2a606c2b-1031-4842-b567-351303c62b15" providerId="ADAL" clId="{074C13F4-5714-3343-8842-B2CAB59C4423}" dt="2023-11-05T17:45:21.897" v="3204" actId="1036"/>
          <ac:spMkLst>
            <pc:docMk/>
            <pc:sldMk cId="4294104980" sldId="2147375402"/>
            <ac:spMk id="19" creationId="{C574621A-99BA-1E6A-9032-A12A437FAA4D}"/>
          </ac:spMkLst>
        </pc:spChg>
        <pc:spChg chg="add mod">
          <ac:chgData name="Luis Moßburger" userId="2a606c2b-1031-4842-b567-351303c62b15" providerId="ADAL" clId="{074C13F4-5714-3343-8842-B2CAB59C4423}" dt="2023-11-05T17:45:21.897" v="3204" actId="1036"/>
          <ac:spMkLst>
            <pc:docMk/>
            <pc:sldMk cId="4294104980" sldId="2147375402"/>
            <ac:spMk id="20" creationId="{36B7CA80-AA01-1A44-4184-8821DB845D69}"/>
          </ac:spMkLst>
        </pc:spChg>
        <pc:spChg chg="add mod">
          <ac:chgData name="Luis Moßburger" userId="2a606c2b-1031-4842-b567-351303c62b15" providerId="ADAL" clId="{074C13F4-5714-3343-8842-B2CAB59C4423}" dt="2023-11-05T17:45:21.897" v="3204" actId="1036"/>
          <ac:spMkLst>
            <pc:docMk/>
            <pc:sldMk cId="4294104980" sldId="2147375402"/>
            <ac:spMk id="21" creationId="{2FBA6520-ED37-7D1E-13DB-5F7B23E03B37}"/>
          </ac:spMkLst>
        </pc:spChg>
        <pc:spChg chg="add mod">
          <ac:chgData name="Luis Moßburger" userId="2a606c2b-1031-4842-b567-351303c62b15" providerId="ADAL" clId="{074C13F4-5714-3343-8842-B2CAB59C4423}" dt="2023-11-05T17:45:21.897" v="3204" actId="1036"/>
          <ac:spMkLst>
            <pc:docMk/>
            <pc:sldMk cId="4294104980" sldId="2147375402"/>
            <ac:spMk id="22" creationId="{447A7270-F81D-70FC-76A3-1E5A7D5011AE}"/>
          </ac:spMkLst>
        </pc:spChg>
        <pc:spChg chg="add mod">
          <ac:chgData name="Luis Moßburger" userId="2a606c2b-1031-4842-b567-351303c62b15" providerId="ADAL" clId="{074C13F4-5714-3343-8842-B2CAB59C4423}" dt="2023-11-05T17:45:21.897" v="3204" actId="1036"/>
          <ac:spMkLst>
            <pc:docMk/>
            <pc:sldMk cId="4294104980" sldId="2147375402"/>
            <ac:spMk id="23" creationId="{38609D1B-B0BD-9C81-72F8-AD2105981837}"/>
          </ac:spMkLst>
        </pc:spChg>
        <pc:spChg chg="add mod">
          <ac:chgData name="Luis Moßburger" userId="2a606c2b-1031-4842-b567-351303c62b15" providerId="ADAL" clId="{074C13F4-5714-3343-8842-B2CAB59C4423}" dt="2023-11-05T17:45:21.897" v="3204" actId="1036"/>
          <ac:spMkLst>
            <pc:docMk/>
            <pc:sldMk cId="4294104980" sldId="2147375402"/>
            <ac:spMk id="24" creationId="{51A55C34-3636-1D38-728B-34577A38A641}"/>
          </ac:spMkLst>
        </pc:spChg>
        <pc:spChg chg="add mod">
          <ac:chgData name="Luis Moßburger" userId="2a606c2b-1031-4842-b567-351303c62b15" providerId="ADAL" clId="{074C13F4-5714-3343-8842-B2CAB59C4423}" dt="2023-11-05T17:45:21.897" v="3204" actId="1036"/>
          <ac:spMkLst>
            <pc:docMk/>
            <pc:sldMk cId="4294104980" sldId="2147375402"/>
            <ac:spMk id="25" creationId="{BACC4204-403C-176D-7717-271993678D45}"/>
          </ac:spMkLst>
        </pc:spChg>
        <pc:spChg chg="add mod">
          <ac:chgData name="Luis Moßburger" userId="2a606c2b-1031-4842-b567-351303c62b15" providerId="ADAL" clId="{074C13F4-5714-3343-8842-B2CAB59C4423}" dt="2023-11-05T17:45:21.897" v="3204" actId="1036"/>
          <ac:spMkLst>
            <pc:docMk/>
            <pc:sldMk cId="4294104980" sldId="2147375402"/>
            <ac:spMk id="26" creationId="{C178AA6D-1748-F554-B529-20AB9878D964}"/>
          </ac:spMkLst>
        </pc:spChg>
        <pc:spChg chg="add mod">
          <ac:chgData name="Luis Moßburger" userId="2a606c2b-1031-4842-b567-351303c62b15" providerId="ADAL" clId="{074C13F4-5714-3343-8842-B2CAB59C4423}" dt="2023-11-05T17:45:21.897" v="3204" actId="1036"/>
          <ac:spMkLst>
            <pc:docMk/>
            <pc:sldMk cId="4294104980" sldId="2147375402"/>
            <ac:spMk id="27" creationId="{7BED7215-3CC9-C1EE-6825-BB98A3C1B015}"/>
          </ac:spMkLst>
        </pc:spChg>
        <pc:spChg chg="add mod">
          <ac:chgData name="Luis Moßburger" userId="2a606c2b-1031-4842-b567-351303c62b15" providerId="ADAL" clId="{074C13F4-5714-3343-8842-B2CAB59C4423}" dt="2023-11-05T17:45:21.897" v="3204" actId="1036"/>
          <ac:spMkLst>
            <pc:docMk/>
            <pc:sldMk cId="4294104980" sldId="2147375402"/>
            <ac:spMk id="28" creationId="{DAD453A1-6FB3-FEC9-7BB7-D631E43B2982}"/>
          </ac:spMkLst>
        </pc:spChg>
        <pc:spChg chg="add del">
          <ac:chgData name="Luis Moßburger" userId="2a606c2b-1031-4842-b567-351303c62b15" providerId="ADAL" clId="{074C13F4-5714-3343-8842-B2CAB59C4423}" dt="2023-11-05T17:43:13.782" v="3110" actId="478"/>
          <ac:spMkLst>
            <pc:docMk/>
            <pc:sldMk cId="4294104980" sldId="2147375402"/>
            <ac:spMk id="29" creationId="{B85842F6-6CA6-B1EA-C328-50E2FA94F593}"/>
          </ac:spMkLst>
        </pc:spChg>
        <pc:spChg chg="add del mod">
          <ac:chgData name="Luis Moßburger" userId="2a606c2b-1031-4842-b567-351303c62b15" providerId="ADAL" clId="{074C13F4-5714-3343-8842-B2CAB59C4423}" dt="2023-11-05T17:43:38.689" v="3115" actId="478"/>
          <ac:spMkLst>
            <pc:docMk/>
            <pc:sldMk cId="4294104980" sldId="2147375402"/>
            <ac:spMk id="30" creationId="{93A766BF-4FF7-AB75-2017-40D0FD7A5D08}"/>
          </ac:spMkLst>
        </pc:spChg>
        <pc:spChg chg="add mod">
          <ac:chgData name="Luis Moßburger" userId="2a606c2b-1031-4842-b567-351303c62b15" providerId="ADAL" clId="{074C13F4-5714-3343-8842-B2CAB59C4423}" dt="2023-11-05T17:45:21.897" v="3204" actId="1036"/>
          <ac:spMkLst>
            <pc:docMk/>
            <pc:sldMk cId="4294104980" sldId="2147375402"/>
            <ac:spMk id="31" creationId="{8B462A80-71F0-80E1-3D68-84852B27EEF2}"/>
          </ac:spMkLst>
        </pc:spChg>
        <pc:spChg chg="add mod">
          <ac:chgData name="Luis Moßburger" userId="2a606c2b-1031-4842-b567-351303c62b15" providerId="ADAL" clId="{074C13F4-5714-3343-8842-B2CAB59C4423}" dt="2023-11-05T17:45:21.897" v="3204" actId="1036"/>
          <ac:spMkLst>
            <pc:docMk/>
            <pc:sldMk cId="4294104980" sldId="2147375402"/>
            <ac:spMk id="32" creationId="{A45CA6C2-A1FF-FB41-F3CF-91CA7DA39336}"/>
          </ac:spMkLst>
        </pc:spChg>
        <pc:spChg chg="add mod">
          <ac:chgData name="Luis Moßburger" userId="2a606c2b-1031-4842-b567-351303c62b15" providerId="ADAL" clId="{074C13F4-5714-3343-8842-B2CAB59C4423}" dt="2023-11-05T17:45:21.897" v="3204" actId="1036"/>
          <ac:spMkLst>
            <pc:docMk/>
            <pc:sldMk cId="4294104980" sldId="2147375402"/>
            <ac:spMk id="33" creationId="{38451630-31E6-C69C-D5B4-7EA5EF59C071}"/>
          </ac:spMkLst>
        </pc:spChg>
        <pc:spChg chg="add mod">
          <ac:chgData name="Luis Moßburger" userId="2a606c2b-1031-4842-b567-351303c62b15" providerId="ADAL" clId="{074C13F4-5714-3343-8842-B2CAB59C4423}" dt="2023-11-05T17:45:07.473" v="3191" actId="207"/>
          <ac:spMkLst>
            <pc:docMk/>
            <pc:sldMk cId="4294104980" sldId="2147375402"/>
            <ac:spMk id="34" creationId="{22E7E520-07BD-E93B-9688-90F2F34759C6}"/>
          </ac:spMkLst>
        </pc:spChg>
        <pc:picChg chg="add del mod">
          <ac:chgData name="Luis Moßburger" userId="2a606c2b-1031-4842-b567-351303c62b15" providerId="ADAL" clId="{074C13F4-5714-3343-8842-B2CAB59C4423}" dt="2023-11-05T17:35:30.861" v="2860" actId="478"/>
          <ac:picMkLst>
            <pc:docMk/>
            <pc:sldMk cId="4294104980" sldId="2147375402"/>
            <ac:picMk id="6" creationId="{AB2107E9-ECA0-90EA-7B48-96DFF4AA8E4B}"/>
          </ac:picMkLst>
        </pc:picChg>
        <pc:picChg chg="add mod">
          <ac:chgData name="Luis Moßburger" userId="2a606c2b-1031-4842-b567-351303c62b15" providerId="ADAL" clId="{074C13F4-5714-3343-8842-B2CAB59C4423}" dt="2023-11-05T17:45:21.897" v="3204" actId="1036"/>
          <ac:picMkLst>
            <pc:docMk/>
            <pc:sldMk cId="4294104980" sldId="2147375402"/>
            <ac:picMk id="7" creationId="{DAD5A884-8EA4-B637-7D70-C36558BAB80B}"/>
          </ac:picMkLst>
        </pc:picChg>
        <pc:picChg chg="add del mod">
          <ac:chgData name="Luis Moßburger" userId="2a606c2b-1031-4842-b567-351303c62b15" providerId="ADAL" clId="{074C13F4-5714-3343-8842-B2CAB59C4423}" dt="2023-11-05T17:35:04.277" v="2856" actId="478"/>
          <ac:picMkLst>
            <pc:docMk/>
            <pc:sldMk cId="4294104980" sldId="2147375402"/>
            <ac:picMk id="8" creationId="{0107457D-FEB7-A3F6-7AFC-5AD7B63AC155}"/>
          </ac:picMkLst>
        </pc:picChg>
        <pc:picChg chg="add mod">
          <ac:chgData name="Luis Moßburger" userId="2a606c2b-1031-4842-b567-351303c62b15" providerId="ADAL" clId="{074C13F4-5714-3343-8842-B2CAB59C4423}" dt="2023-11-05T17:45:21.897" v="3204" actId="1036"/>
          <ac:picMkLst>
            <pc:docMk/>
            <pc:sldMk cId="4294104980" sldId="2147375402"/>
            <ac:picMk id="10" creationId="{E2AE4A97-21F1-C379-40E6-4E6BA124F186}"/>
          </ac:picMkLst>
        </pc:picChg>
        <pc:picChg chg="add mod">
          <ac:chgData name="Luis Moßburger" userId="2a606c2b-1031-4842-b567-351303c62b15" providerId="ADAL" clId="{074C13F4-5714-3343-8842-B2CAB59C4423}" dt="2023-11-05T17:45:21.897" v="3204" actId="1036"/>
          <ac:picMkLst>
            <pc:docMk/>
            <pc:sldMk cId="4294104980" sldId="2147375402"/>
            <ac:picMk id="4098" creationId="{F350D66F-54D3-F0B5-D691-34A6D83797C4}"/>
          </ac:picMkLst>
        </pc:picChg>
      </pc:sldChg>
      <pc:sldChg chg="addSp delSp modSp new mod">
        <pc:chgData name="Luis Moßburger" userId="2a606c2b-1031-4842-b567-351303c62b15" providerId="ADAL" clId="{074C13F4-5714-3343-8842-B2CAB59C4423}" dt="2023-11-05T17:55:34.411" v="3585" actId="20577"/>
        <pc:sldMkLst>
          <pc:docMk/>
          <pc:sldMk cId="1870288399" sldId="2147375403"/>
        </pc:sldMkLst>
        <pc:spChg chg="mod">
          <ac:chgData name="Luis Moßburger" userId="2a606c2b-1031-4842-b567-351303c62b15" providerId="ADAL" clId="{074C13F4-5714-3343-8842-B2CAB59C4423}" dt="2023-11-05T17:55:34.411" v="3585" actId="20577"/>
          <ac:spMkLst>
            <pc:docMk/>
            <pc:sldMk cId="1870288399" sldId="2147375403"/>
            <ac:spMk id="2" creationId="{E330B1C2-3671-6D76-77A2-4B57EA607C1C}"/>
          </ac:spMkLst>
        </pc:spChg>
        <pc:spChg chg="del">
          <ac:chgData name="Luis Moßburger" userId="2a606c2b-1031-4842-b567-351303c62b15" providerId="ADAL" clId="{074C13F4-5714-3343-8842-B2CAB59C4423}" dt="2023-11-05T17:54:15.245" v="3489"/>
          <ac:spMkLst>
            <pc:docMk/>
            <pc:sldMk cId="1870288399" sldId="2147375403"/>
            <ac:spMk id="3" creationId="{EB9EBD50-825B-A5F6-2BCF-31D33D63BEA2}"/>
          </ac:spMkLst>
        </pc:spChg>
        <pc:picChg chg="add del mod">
          <ac:chgData name="Luis Moßburger" userId="2a606c2b-1031-4842-b567-351303c62b15" providerId="ADAL" clId="{074C13F4-5714-3343-8842-B2CAB59C4423}" dt="2023-11-05T17:54:12.503" v="3488" actId="478"/>
          <ac:picMkLst>
            <pc:docMk/>
            <pc:sldMk cId="1870288399" sldId="2147375403"/>
            <ac:picMk id="7" creationId="{1F60EF8F-1792-6420-CDBD-47AA1BC7B771}"/>
          </ac:picMkLst>
        </pc:picChg>
        <pc:picChg chg="add mod">
          <ac:chgData name="Luis Moßburger" userId="2a606c2b-1031-4842-b567-351303c62b15" providerId="ADAL" clId="{074C13F4-5714-3343-8842-B2CAB59C4423}" dt="2023-11-05T17:54:15.245" v="3489"/>
          <ac:picMkLst>
            <pc:docMk/>
            <pc:sldMk cId="1870288399" sldId="2147375403"/>
            <ac:picMk id="8" creationId="{9C72B6E6-1518-4C3A-24B0-B4712B921977}"/>
          </ac:picMkLst>
        </pc:picChg>
      </pc:sldChg>
      <pc:sldChg chg="new del">
        <pc:chgData name="Luis Moßburger" userId="2a606c2b-1031-4842-b567-351303c62b15" providerId="ADAL" clId="{074C13F4-5714-3343-8842-B2CAB59C4423}" dt="2023-11-05T17:53:52.457" v="3485" actId="2696"/>
        <pc:sldMkLst>
          <pc:docMk/>
          <pc:sldMk cId="2144106601" sldId="2147375403"/>
        </pc:sldMkLst>
      </pc:sldChg>
      <pc:sldChg chg="add del">
        <pc:chgData name="Luis Moßburger" userId="2a606c2b-1031-4842-b567-351303c62b15" providerId="ADAL" clId="{074C13F4-5714-3343-8842-B2CAB59C4423}" dt="2023-11-05T18:03:49.733" v="4012" actId="2696"/>
        <pc:sldMkLst>
          <pc:docMk/>
          <pc:sldMk cId="1918431331" sldId="2147375404"/>
        </pc:sldMkLst>
      </pc:sldChg>
      <pc:sldChg chg="addSp modSp new mod">
        <pc:chgData name="Luis Moßburger" userId="2a606c2b-1031-4842-b567-351303c62b15" providerId="ADAL" clId="{074C13F4-5714-3343-8842-B2CAB59C4423}" dt="2023-11-05T18:03:08.308" v="4009" actId="20577"/>
        <pc:sldMkLst>
          <pc:docMk/>
          <pc:sldMk cId="3431314746" sldId="2147375405"/>
        </pc:sldMkLst>
        <pc:spChg chg="mod">
          <ac:chgData name="Luis Moßburger" userId="2a606c2b-1031-4842-b567-351303c62b15" providerId="ADAL" clId="{074C13F4-5714-3343-8842-B2CAB59C4423}" dt="2023-11-05T17:59:27.386" v="3785" actId="20577"/>
          <ac:spMkLst>
            <pc:docMk/>
            <pc:sldMk cId="3431314746" sldId="2147375405"/>
            <ac:spMk id="6" creationId="{839FDF76-F507-D0F8-89EE-706830757A83}"/>
          </ac:spMkLst>
        </pc:spChg>
        <pc:spChg chg="mod">
          <ac:chgData name="Luis Moßburger" userId="2a606c2b-1031-4842-b567-351303c62b15" providerId="ADAL" clId="{074C13F4-5714-3343-8842-B2CAB59C4423}" dt="2023-11-05T18:00:15.925" v="3827" actId="20577"/>
          <ac:spMkLst>
            <pc:docMk/>
            <pc:sldMk cId="3431314746" sldId="2147375405"/>
            <ac:spMk id="7" creationId="{4ECF0856-9D36-A99E-652E-ED0164F43E08}"/>
          </ac:spMkLst>
        </pc:spChg>
        <pc:spChg chg="mod">
          <ac:chgData name="Luis Moßburger" userId="2a606c2b-1031-4842-b567-351303c62b15" providerId="ADAL" clId="{074C13F4-5714-3343-8842-B2CAB59C4423}" dt="2023-11-05T17:59:31.665" v="3786" actId="20577"/>
          <ac:spMkLst>
            <pc:docMk/>
            <pc:sldMk cId="3431314746" sldId="2147375405"/>
            <ac:spMk id="8" creationId="{DCD94EE2-E1E1-F83C-7013-B9D62D84A49F}"/>
          </ac:spMkLst>
        </pc:spChg>
        <pc:spChg chg="mod">
          <ac:chgData name="Luis Moßburger" userId="2a606c2b-1031-4842-b567-351303c62b15" providerId="ADAL" clId="{074C13F4-5714-3343-8842-B2CAB59C4423}" dt="2023-11-05T18:01:31.573" v="3893" actId="20577"/>
          <ac:spMkLst>
            <pc:docMk/>
            <pc:sldMk cId="3431314746" sldId="2147375405"/>
            <ac:spMk id="9" creationId="{61D4B690-E3FB-2CF3-4477-7A09645C21C7}"/>
          </ac:spMkLst>
        </pc:spChg>
        <pc:spChg chg="mod">
          <ac:chgData name="Luis Moßburger" userId="2a606c2b-1031-4842-b567-351303c62b15" providerId="ADAL" clId="{074C13F4-5714-3343-8842-B2CAB59C4423}" dt="2023-11-05T18:02:41.659" v="3957" actId="20577"/>
          <ac:spMkLst>
            <pc:docMk/>
            <pc:sldMk cId="3431314746" sldId="2147375405"/>
            <ac:spMk id="10" creationId="{197F3EEF-2836-B6F9-5AC8-D84FF8CE7F2F}"/>
          </ac:spMkLst>
        </pc:spChg>
        <pc:spChg chg="mod">
          <ac:chgData name="Luis Moßburger" userId="2a606c2b-1031-4842-b567-351303c62b15" providerId="ADAL" clId="{074C13F4-5714-3343-8842-B2CAB59C4423}" dt="2023-11-05T18:03:08.308" v="4009" actId="20577"/>
          <ac:spMkLst>
            <pc:docMk/>
            <pc:sldMk cId="3431314746" sldId="2147375405"/>
            <ac:spMk id="11" creationId="{B47C9A17-5EAF-5E57-5E76-9FD1C210632E}"/>
          </ac:spMkLst>
        </pc:spChg>
        <pc:spChg chg="add mod">
          <ac:chgData name="Luis Moßburger" userId="2a606c2b-1031-4842-b567-351303c62b15" providerId="ADAL" clId="{074C13F4-5714-3343-8842-B2CAB59C4423}" dt="2023-11-05T18:00:31.495" v="3831" actId="404"/>
          <ac:spMkLst>
            <pc:docMk/>
            <pc:sldMk cId="3431314746" sldId="2147375405"/>
            <ac:spMk id="12" creationId="{C9B2061A-737E-740F-95A7-75938FE55DB4}"/>
          </ac:spMkLst>
        </pc:spChg>
      </pc:sldChg>
      <pc:sldChg chg="addSp delSp modSp add mod ord delAnim">
        <pc:chgData name="Luis Moßburger" userId="2a606c2b-1031-4842-b567-351303c62b15" providerId="ADAL" clId="{074C13F4-5714-3343-8842-B2CAB59C4423}" dt="2023-11-05T18:17:55.779" v="4162" actId="20578"/>
        <pc:sldMkLst>
          <pc:docMk/>
          <pc:sldMk cId="1484527794" sldId="2147375406"/>
        </pc:sldMkLst>
        <pc:spChg chg="mod topLvl">
          <ac:chgData name="Luis Moßburger" userId="2a606c2b-1031-4842-b567-351303c62b15" providerId="ADAL" clId="{074C13F4-5714-3343-8842-B2CAB59C4423}" dt="2023-11-05T18:06:40.074" v="4125" actId="165"/>
          <ac:spMkLst>
            <pc:docMk/>
            <pc:sldMk cId="1484527794" sldId="2147375406"/>
            <ac:spMk id="2" creationId="{0FACEA54-EE9A-11CB-9577-3A743BBE1297}"/>
          </ac:spMkLst>
        </pc:spChg>
        <pc:spChg chg="mod">
          <ac:chgData name="Luis Moßburger" userId="2a606c2b-1031-4842-b567-351303c62b15" providerId="ADAL" clId="{074C13F4-5714-3343-8842-B2CAB59C4423}" dt="2023-11-05T18:07:32.128" v="4160" actId="20577"/>
          <ac:spMkLst>
            <pc:docMk/>
            <pc:sldMk cId="1484527794" sldId="2147375406"/>
            <ac:spMk id="3" creationId="{F3CDF1E2-4FAB-7D6C-6483-2DADB0CAE7A8}"/>
          </ac:spMkLst>
        </pc:spChg>
        <pc:spChg chg="mod">
          <ac:chgData name="Luis Moßburger" userId="2a606c2b-1031-4842-b567-351303c62b15" providerId="ADAL" clId="{074C13F4-5714-3343-8842-B2CAB59C4423}" dt="2023-11-05T18:06:48.299" v="4129" actId="1076"/>
          <ac:spMkLst>
            <pc:docMk/>
            <pc:sldMk cId="1484527794" sldId="2147375406"/>
            <ac:spMk id="5" creationId="{50AAAE78-F515-F429-74B4-5993589C9293}"/>
          </ac:spMkLst>
        </pc:spChg>
        <pc:spChg chg="mod topLvl">
          <ac:chgData name="Luis Moßburger" userId="2a606c2b-1031-4842-b567-351303c62b15" providerId="ADAL" clId="{074C13F4-5714-3343-8842-B2CAB59C4423}" dt="2023-11-05T18:06:40.074" v="4125" actId="165"/>
          <ac:spMkLst>
            <pc:docMk/>
            <pc:sldMk cId="1484527794" sldId="2147375406"/>
            <ac:spMk id="9" creationId="{AFF56F8E-8912-213A-4D37-CC3316BB9FE4}"/>
          </ac:spMkLst>
        </pc:spChg>
        <pc:spChg chg="mod topLvl">
          <ac:chgData name="Luis Moßburger" userId="2a606c2b-1031-4842-b567-351303c62b15" providerId="ADAL" clId="{074C13F4-5714-3343-8842-B2CAB59C4423}" dt="2023-11-05T18:06:40.074" v="4125" actId="165"/>
          <ac:spMkLst>
            <pc:docMk/>
            <pc:sldMk cId="1484527794" sldId="2147375406"/>
            <ac:spMk id="10" creationId="{487BB516-14C8-1E3C-3ED2-5143C6DF2C62}"/>
          </ac:spMkLst>
        </pc:spChg>
        <pc:grpChg chg="del">
          <ac:chgData name="Luis Moßburger" userId="2a606c2b-1031-4842-b567-351303c62b15" providerId="ADAL" clId="{074C13F4-5714-3343-8842-B2CAB59C4423}" dt="2023-11-05T18:06:40.074" v="4125" actId="165"/>
          <ac:grpSpMkLst>
            <pc:docMk/>
            <pc:sldMk cId="1484527794" sldId="2147375406"/>
            <ac:grpSpMk id="15" creationId="{CA051DA9-70F7-74B1-53CC-1AC328631D89}"/>
          </ac:grpSpMkLst>
        </pc:grpChg>
        <pc:grpChg chg="del">
          <ac:chgData name="Luis Moßburger" userId="2a606c2b-1031-4842-b567-351303c62b15" providerId="ADAL" clId="{074C13F4-5714-3343-8842-B2CAB59C4423}" dt="2023-11-05T18:06:40.074" v="4125" actId="165"/>
          <ac:grpSpMkLst>
            <pc:docMk/>
            <pc:sldMk cId="1484527794" sldId="2147375406"/>
            <ac:grpSpMk id="16" creationId="{4F519ACB-0047-1614-D00E-A2AC489B6029}"/>
          </ac:grpSpMkLst>
        </pc:grpChg>
        <pc:grpChg chg="del">
          <ac:chgData name="Luis Moßburger" userId="2a606c2b-1031-4842-b567-351303c62b15" providerId="ADAL" clId="{074C13F4-5714-3343-8842-B2CAB59C4423}" dt="2023-11-05T18:06:40.074" v="4125" actId="165"/>
          <ac:grpSpMkLst>
            <pc:docMk/>
            <pc:sldMk cId="1484527794" sldId="2147375406"/>
            <ac:grpSpMk id="17" creationId="{8828BD9F-A043-B755-5050-0B6DD19FDDA4}"/>
          </ac:grpSpMkLst>
        </pc:grpChg>
        <pc:picChg chg="add mod">
          <ac:chgData name="Luis Moßburger" userId="2a606c2b-1031-4842-b567-351303c62b15" providerId="ADAL" clId="{074C13F4-5714-3343-8842-B2CAB59C4423}" dt="2023-11-05T18:06:57.758" v="4130" actId="1076"/>
          <ac:picMkLst>
            <pc:docMk/>
            <pc:sldMk cId="1484527794" sldId="2147375406"/>
            <ac:picMk id="4" creationId="{92567539-9639-1317-7D9C-D5DAE94D74F6}"/>
          </ac:picMkLst>
        </pc:picChg>
        <pc:picChg chg="add mod">
          <ac:chgData name="Luis Moßburger" userId="2a606c2b-1031-4842-b567-351303c62b15" providerId="ADAL" clId="{074C13F4-5714-3343-8842-B2CAB59C4423}" dt="2023-11-05T18:07:08.904" v="4133" actId="1076"/>
          <ac:picMkLst>
            <pc:docMk/>
            <pc:sldMk cId="1484527794" sldId="2147375406"/>
            <ac:picMk id="7" creationId="{0CCC7938-408A-FBA9-59A3-8573A8A5BD49}"/>
          </ac:picMkLst>
        </pc:picChg>
        <pc:picChg chg="topLvl">
          <ac:chgData name="Luis Moßburger" userId="2a606c2b-1031-4842-b567-351303c62b15" providerId="ADAL" clId="{074C13F4-5714-3343-8842-B2CAB59C4423}" dt="2023-11-05T18:06:40.074" v="4125" actId="165"/>
          <ac:picMkLst>
            <pc:docMk/>
            <pc:sldMk cId="1484527794" sldId="2147375406"/>
            <ac:picMk id="11" creationId="{7C2E1E51-A391-24BB-8753-57F7CEACF846}"/>
          </ac:picMkLst>
        </pc:picChg>
        <pc:picChg chg="del topLvl">
          <ac:chgData name="Luis Moßburger" userId="2a606c2b-1031-4842-b567-351303c62b15" providerId="ADAL" clId="{074C13F4-5714-3343-8842-B2CAB59C4423}" dt="2023-11-05T18:06:59.599" v="4131" actId="478"/>
          <ac:picMkLst>
            <pc:docMk/>
            <pc:sldMk cId="1484527794" sldId="2147375406"/>
            <ac:picMk id="12" creationId="{C531E13C-487E-953D-C9EE-8B24EAB87007}"/>
          </ac:picMkLst>
        </pc:picChg>
        <pc:picChg chg="del topLvl">
          <ac:chgData name="Luis Moßburger" userId="2a606c2b-1031-4842-b567-351303c62b15" providerId="ADAL" clId="{074C13F4-5714-3343-8842-B2CAB59C4423}" dt="2023-11-05T18:06:42.905" v="4126" actId="478"/>
          <ac:picMkLst>
            <pc:docMk/>
            <pc:sldMk cId="1484527794" sldId="2147375406"/>
            <ac:picMk id="13" creationId="{BAFED537-4143-1AAB-6BEC-106AE545A914}"/>
          </ac:picMkLst>
        </pc:picChg>
      </pc:sldChg>
      <pc:sldChg chg="addSp delSp modSp add mod">
        <pc:chgData name="Luis Moßburger" userId="2a606c2b-1031-4842-b567-351303c62b15" providerId="ADAL" clId="{074C13F4-5714-3343-8842-B2CAB59C4423}" dt="2023-11-05T18:30:00.575" v="4748" actId="20577"/>
        <pc:sldMkLst>
          <pc:docMk/>
          <pc:sldMk cId="2470003812" sldId="2147375407"/>
        </pc:sldMkLst>
        <pc:spChg chg="del mod">
          <ac:chgData name="Luis Moßburger" userId="2a606c2b-1031-4842-b567-351303c62b15" providerId="ADAL" clId="{074C13F4-5714-3343-8842-B2CAB59C4423}" dt="2023-11-05T18:19:07.576" v="4190" actId="478"/>
          <ac:spMkLst>
            <pc:docMk/>
            <pc:sldMk cId="2470003812" sldId="2147375407"/>
            <ac:spMk id="7" creationId="{BE42361A-F3BD-4CBA-80E8-876B421A26E0}"/>
          </ac:spMkLst>
        </pc:spChg>
        <pc:spChg chg="del">
          <ac:chgData name="Luis Moßburger" userId="2a606c2b-1031-4842-b567-351303c62b15" providerId="ADAL" clId="{074C13F4-5714-3343-8842-B2CAB59C4423}" dt="2023-11-05T18:18:20.943" v="4179" actId="478"/>
          <ac:spMkLst>
            <pc:docMk/>
            <pc:sldMk cId="2470003812" sldId="2147375407"/>
            <ac:spMk id="10" creationId="{C857A4A4-B083-F818-A05C-6E7725005650}"/>
          </ac:spMkLst>
        </pc:spChg>
        <pc:spChg chg="del">
          <ac:chgData name="Luis Moßburger" userId="2a606c2b-1031-4842-b567-351303c62b15" providerId="ADAL" clId="{074C13F4-5714-3343-8842-B2CAB59C4423}" dt="2023-11-05T18:18:20.943" v="4179" actId="478"/>
          <ac:spMkLst>
            <pc:docMk/>
            <pc:sldMk cId="2470003812" sldId="2147375407"/>
            <ac:spMk id="11" creationId="{7865A325-2FF7-EB48-12F7-94D33937787A}"/>
          </ac:spMkLst>
        </pc:spChg>
        <pc:spChg chg="del">
          <ac:chgData name="Luis Moßburger" userId="2a606c2b-1031-4842-b567-351303c62b15" providerId="ADAL" clId="{074C13F4-5714-3343-8842-B2CAB59C4423}" dt="2023-11-05T18:18:20.943" v="4179" actId="478"/>
          <ac:spMkLst>
            <pc:docMk/>
            <pc:sldMk cId="2470003812" sldId="2147375407"/>
            <ac:spMk id="12" creationId="{1D1F87BE-D7F4-42C4-96F6-B7C1EA5ECA31}"/>
          </ac:spMkLst>
        </pc:spChg>
        <pc:spChg chg="del">
          <ac:chgData name="Luis Moßburger" userId="2a606c2b-1031-4842-b567-351303c62b15" providerId="ADAL" clId="{074C13F4-5714-3343-8842-B2CAB59C4423}" dt="2023-11-05T18:18:20.943" v="4179" actId="478"/>
          <ac:spMkLst>
            <pc:docMk/>
            <pc:sldMk cId="2470003812" sldId="2147375407"/>
            <ac:spMk id="13" creationId="{55CCE1FD-6735-EB62-3DCB-EC299FB33612}"/>
          </ac:spMkLst>
        </pc:spChg>
        <pc:spChg chg="add mod">
          <ac:chgData name="Luis Moßburger" userId="2a606c2b-1031-4842-b567-351303c62b15" providerId="ADAL" clId="{074C13F4-5714-3343-8842-B2CAB59C4423}" dt="2023-11-05T18:29:33.529" v="4699" actId="404"/>
          <ac:spMkLst>
            <pc:docMk/>
            <pc:sldMk cId="2470003812" sldId="2147375407"/>
            <ac:spMk id="15" creationId="{B6126793-8AB3-C10F-AA4E-CFD7FFC43F96}"/>
          </ac:spMkLst>
        </pc:spChg>
        <pc:spChg chg="del">
          <ac:chgData name="Luis Moßburger" userId="2a606c2b-1031-4842-b567-351303c62b15" providerId="ADAL" clId="{074C13F4-5714-3343-8842-B2CAB59C4423}" dt="2023-11-05T18:18:20.943" v="4179" actId="478"/>
          <ac:spMkLst>
            <pc:docMk/>
            <pc:sldMk cId="2470003812" sldId="2147375407"/>
            <ac:spMk id="25" creationId="{7D8918C2-631E-8413-7447-E5021F4AF540}"/>
          </ac:spMkLst>
        </pc:spChg>
        <pc:spChg chg="del">
          <ac:chgData name="Luis Moßburger" userId="2a606c2b-1031-4842-b567-351303c62b15" providerId="ADAL" clId="{074C13F4-5714-3343-8842-B2CAB59C4423}" dt="2023-11-05T18:18:20.943" v="4179" actId="478"/>
          <ac:spMkLst>
            <pc:docMk/>
            <pc:sldMk cId="2470003812" sldId="2147375407"/>
            <ac:spMk id="27" creationId="{4937EC35-F7DF-D37F-9210-A9DDD1CC1CAB}"/>
          </ac:spMkLst>
        </pc:spChg>
        <pc:spChg chg="del">
          <ac:chgData name="Luis Moßburger" userId="2a606c2b-1031-4842-b567-351303c62b15" providerId="ADAL" clId="{074C13F4-5714-3343-8842-B2CAB59C4423}" dt="2023-11-05T18:18:20.943" v="4179" actId="478"/>
          <ac:spMkLst>
            <pc:docMk/>
            <pc:sldMk cId="2470003812" sldId="2147375407"/>
            <ac:spMk id="28" creationId="{1FC97097-75F9-97B4-285B-4A3566002D82}"/>
          </ac:spMkLst>
        </pc:spChg>
        <pc:spChg chg="del">
          <ac:chgData name="Luis Moßburger" userId="2a606c2b-1031-4842-b567-351303c62b15" providerId="ADAL" clId="{074C13F4-5714-3343-8842-B2CAB59C4423}" dt="2023-11-05T18:18:20.943" v="4179" actId="478"/>
          <ac:spMkLst>
            <pc:docMk/>
            <pc:sldMk cId="2470003812" sldId="2147375407"/>
            <ac:spMk id="29" creationId="{1DD11498-C3A8-8660-9975-E2EC6721D59A}"/>
          </ac:spMkLst>
        </pc:spChg>
        <pc:spChg chg="mod topLvl">
          <ac:chgData name="Luis Moßburger" userId="2a606c2b-1031-4842-b567-351303c62b15" providerId="ADAL" clId="{074C13F4-5714-3343-8842-B2CAB59C4423}" dt="2023-11-05T18:30:00.575" v="4748" actId="20577"/>
          <ac:spMkLst>
            <pc:docMk/>
            <pc:sldMk cId="2470003812" sldId="2147375407"/>
            <ac:spMk id="30" creationId="{7B930138-B99F-2308-8F50-15FA565A83ED}"/>
          </ac:spMkLst>
        </pc:spChg>
        <pc:spChg chg="del">
          <ac:chgData name="Luis Moßburger" userId="2a606c2b-1031-4842-b567-351303c62b15" providerId="ADAL" clId="{074C13F4-5714-3343-8842-B2CAB59C4423}" dt="2023-11-05T18:18:20.943" v="4179" actId="478"/>
          <ac:spMkLst>
            <pc:docMk/>
            <pc:sldMk cId="2470003812" sldId="2147375407"/>
            <ac:spMk id="32" creationId="{BFC5D80A-3BE3-1C52-6007-92EBC85F2574}"/>
          </ac:spMkLst>
        </pc:spChg>
        <pc:spChg chg="del">
          <ac:chgData name="Luis Moßburger" userId="2a606c2b-1031-4842-b567-351303c62b15" providerId="ADAL" clId="{074C13F4-5714-3343-8842-B2CAB59C4423}" dt="2023-11-05T18:18:20.943" v="4179" actId="478"/>
          <ac:spMkLst>
            <pc:docMk/>
            <pc:sldMk cId="2470003812" sldId="2147375407"/>
            <ac:spMk id="34" creationId="{7A55A28A-4932-E44F-87E7-5DA8C687C940}"/>
          </ac:spMkLst>
        </pc:spChg>
        <pc:grpChg chg="add del mod">
          <ac:chgData name="Luis Moßburger" userId="2a606c2b-1031-4842-b567-351303c62b15" providerId="ADAL" clId="{074C13F4-5714-3343-8842-B2CAB59C4423}" dt="2023-11-05T18:23:21.530" v="4283" actId="165"/>
          <ac:grpSpMkLst>
            <pc:docMk/>
            <pc:sldMk cId="2470003812" sldId="2147375407"/>
            <ac:grpSpMk id="8" creationId="{6EDE92C3-6F8D-33F6-7D19-2F7F4236FA0F}"/>
          </ac:grpSpMkLst>
        </pc:grpChg>
        <pc:grpChg chg="add mod">
          <ac:chgData name="Luis Moßburger" userId="2a606c2b-1031-4842-b567-351303c62b15" providerId="ADAL" clId="{074C13F4-5714-3343-8842-B2CAB59C4423}" dt="2023-11-05T18:24:20.612" v="4329" actId="552"/>
          <ac:grpSpMkLst>
            <pc:docMk/>
            <pc:sldMk cId="2470003812" sldId="2147375407"/>
            <ac:grpSpMk id="14" creationId="{19211884-B5A1-4FCA-6AD5-AA3C3B5B7ED1}"/>
          </ac:grpSpMkLst>
        </pc:grpChg>
        <pc:picChg chg="mod">
          <ac:chgData name="Luis Moßburger" userId="2a606c2b-1031-4842-b567-351303c62b15" providerId="ADAL" clId="{074C13F4-5714-3343-8842-B2CAB59C4423}" dt="2023-11-05T18:23:58.425" v="4325" actId="1076"/>
          <ac:picMkLst>
            <pc:docMk/>
            <pc:sldMk cId="2470003812" sldId="2147375407"/>
            <ac:picMk id="9" creationId="{7009576A-4CD9-8E80-5CC3-3813DAA7FAAB}"/>
          </ac:picMkLst>
        </pc:picChg>
        <pc:picChg chg="mod topLvl">
          <ac:chgData name="Luis Moßburger" userId="2a606c2b-1031-4842-b567-351303c62b15" providerId="ADAL" clId="{074C13F4-5714-3343-8842-B2CAB59C4423}" dt="2023-11-05T18:23:21.530" v="4283" actId="165"/>
          <ac:picMkLst>
            <pc:docMk/>
            <pc:sldMk cId="2470003812" sldId="2147375407"/>
            <ac:picMk id="21" creationId="{3DFE69C6-7615-F259-1869-C13789D718F9}"/>
          </ac:picMkLst>
        </pc:picChg>
        <pc:picChg chg="del">
          <ac:chgData name="Luis Moßburger" userId="2a606c2b-1031-4842-b567-351303c62b15" providerId="ADAL" clId="{074C13F4-5714-3343-8842-B2CAB59C4423}" dt="2023-11-05T18:18:20.943" v="4179" actId="478"/>
          <ac:picMkLst>
            <pc:docMk/>
            <pc:sldMk cId="2470003812" sldId="2147375407"/>
            <ac:picMk id="22" creationId="{804BF7BE-D8FF-C755-D1AD-193E327BF3A5}"/>
          </ac:picMkLst>
        </pc:picChg>
        <pc:picChg chg="del">
          <ac:chgData name="Luis Moßburger" userId="2a606c2b-1031-4842-b567-351303c62b15" providerId="ADAL" clId="{074C13F4-5714-3343-8842-B2CAB59C4423}" dt="2023-11-05T18:18:20.943" v="4179" actId="478"/>
          <ac:picMkLst>
            <pc:docMk/>
            <pc:sldMk cId="2470003812" sldId="2147375407"/>
            <ac:picMk id="23" creationId="{BDC44C5F-9355-E4B0-AE1B-FCEA9AD3AD12}"/>
          </ac:picMkLst>
        </pc:picChg>
        <pc:picChg chg="del">
          <ac:chgData name="Luis Moßburger" userId="2a606c2b-1031-4842-b567-351303c62b15" providerId="ADAL" clId="{074C13F4-5714-3343-8842-B2CAB59C4423}" dt="2023-11-05T18:18:20.943" v="4179" actId="478"/>
          <ac:picMkLst>
            <pc:docMk/>
            <pc:sldMk cId="2470003812" sldId="2147375407"/>
            <ac:picMk id="1026" creationId="{C406211B-9728-BEE1-48D9-7BA5E6A257D0}"/>
          </ac:picMkLst>
        </pc:picChg>
        <pc:picChg chg="del">
          <ac:chgData name="Luis Moßburger" userId="2a606c2b-1031-4842-b567-351303c62b15" providerId="ADAL" clId="{074C13F4-5714-3343-8842-B2CAB59C4423}" dt="2023-11-05T18:18:20.943" v="4179" actId="478"/>
          <ac:picMkLst>
            <pc:docMk/>
            <pc:sldMk cId="2470003812" sldId="2147375407"/>
            <ac:picMk id="1027" creationId="{A976315F-7CFF-FE8B-AE21-CC8870AD9721}"/>
          </ac:picMkLst>
        </pc:picChg>
      </pc:sldChg>
      <pc:sldChg chg="addSp delSp modSp add mod">
        <pc:chgData name="Luis Moßburger" userId="2a606c2b-1031-4842-b567-351303c62b15" providerId="ADAL" clId="{074C13F4-5714-3343-8842-B2CAB59C4423}" dt="2023-11-05T18:31:11.316" v="4827" actId="1076"/>
        <pc:sldMkLst>
          <pc:docMk/>
          <pc:sldMk cId="4229633207" sldId="2147375408"/>
        </pc:sldMkLst>
        <pc:spChg chg="mod topLvl">
          <ac:chgData name="Luis Moßburger" userId="2a606c2b-1031-4842-b567-351303c62b15" providerId="ADAL" clId="{074C13F4-5714-3343-8842-B2CAB59C4423}" dt="2023-11-05T18:31:05.398" v="4825" actId="165"/>
          <ac:spMkLst>
            <pc:docMk/>
            <pc:sldMk cId="4229633207" sldId="2147375408"/>
            <ac:spMk id="30" creationId="{7B930138-B99F-2308-8F50-15FA565A83ED}"/>
          </ac:spMkLst>
        </pc:spChg>
        <pc:grpChg chg="del">
          <ac:chgData name="Luis Moßburger" userId="2a606c2b-1031-4842-b567-351303c62b15" providerId="ADAL" clId="{074C13F4-5714-3343-8842-B2CAB59C4423}" dt="2023-11-05T18:31:05.398" v="4825" actId="165"/>
          <ac:grpSpMkLst>
            <pc:docMk/>
            <pc:sldMk cId="4229633207" sldId="2147375408"/>
            <ac:grpSpMk id="14" creationId="{19211884-B5A1-4FCA-6AD5-AA3C3B5B7ED1}"/>
          </ac:grpSpMkLst>
        </pc:grpChg>
        <pc:picChg chg="add mod">
          <ac:chgData name="Luis Moßburger" userId="2a606c2b-1031-4842-b567-351303c62b15" providerId="ADAL" clId="{074C13F4-5714-3343-8842-B2CAB59C4423}" dt="2023-11-05T18:31:11.316" v="4827" actId="1076"/>
          <ac:picMkLst>
            <pc:docMk/>
            <pc:sldMk cId="4229633207" sldId="2147375408"/>
            <ac:picMk id="7" creationId="{6D224146-0AD0-0871-8A6A-C4CD88564109}"/>
          </ac:picMkLst>
        </pc:picChg>
        <pc:picChg chg="del topLvl">
          <ac:chgData name="Luis Moßburger" userId="2a606c2b-1031-4842-b567-351303c62b15" providerId="ADAL" clId="{074C13F4-5714-3343-8842-B2CAB59C4423}" dt="2023-11-05T18:31:06.728" v="4826" actId="478"/>
          <ac:picMkLst>
            <pc:docMk/>
            <pc:sldMk cId="4229633207" sldId="2147375408"/>
            <ac:picMk id="21" creationId="{3DFE69C6-7615-F259-1869-C13789D718F9}"/>
          </ac:picMkLst>
        </pc:picChg>
      </pc:sldChg>
      <pc:sldChg chg="addSp delSp modSp add mod">
        <pc:chgData name="Luis Moßburger" userId="2a606c2b-1031-4842-b567-351303c62b15" providerId="ADAL" clId="{074C13F4-5714-3343-8842-B2CAB59C4423}" dt="2023-11-05T18:31:46.994" v="4884" actId="1076"/>
        <pc:sldMkLst>
          <pc:docMk/>
          <pc:sldMk cId="1733392667" sldId="2147375409"/>
        </pc:sldMkLst>
        <pc:spChg chg="mod topLvl">
          <ac:chgData name="Luis Moßburger" userId="2a606c2b-1031-4842-b567-351303c62b15" providerId="ADAL" clId="{074C13F4-5714-3343-8842-B2CAB59C4423}" dt="2023-11-05T18:31:39.980" v="4881" actId="165"/>
          <ac:spMkLst>
            <pc:docMk/>
            <pc:sldMk cId="1733392667" sldId="2147375409"/>
            <ac:spMk id="30" creationId="{7B930138-B99F-2308-8F50-15FA565A83ED}"/>
          </ac:spMkLst>
        </pc:spChg>
        <pc:grpChg chg="del">
          <ac:chgData name="Luis Moßburger" userId="2a606c2b-1031-4842-b567-351303c62b15" providerId="ADAL" clId="{074C13F4-5714-3343-8842-B2CAB59C4423}" dt="2023-11-05T18:31:39.980" v="4881" actId="165"/>
          <ac:grpSpMkLst>
            <pc:docMk/>
            <pc:sldMk cId="1733392667" sldId="2147375409"/>
            <ac:grpSpMk id="14" creationId="{19211884-B5A1-4FCA-6AD5-AA3C3B5B7ED1}"/>
          </ac:grpSpMkLst>
        </pc:grpChg>
        <pc:picChg chg="add mod">
          <ac:chgData name="Luis Moßburger" userId="2a606c2b-1031-4842-b567-351303c62b15" providerId="ADAL" clId="{074C13F4-5714-3343-8842-B2CAB59C4423}" dt="2023-11-05T18:31:46.994" v="4884" actId="1076"/>
          <ac:picMkLst>
            <pc:docMk/>
            <pc:sldMk cId="1733392667" sldId="2147375409"/>
            <ac:picMk id="7" creationId="{C87BB0FA-0125-2B56-B99C-D2AF6DABCEFB}"/>
          </ac:picMkLst>
        </pc:picChg>
        <pc:picChg chg="del topLvl">
          <ac:chgData name="Luis Moßburger" userId="2a606c2b-1031-4842-b567-351303c62b15" providerId="ADAL" clId="{074C13F4-5714-3343-8842-B2CAB59C4423}" dt="2023-11-05T18:31:41.590" v="4882" actId="478"/>
          <ac:picMkLst>
            <pc:docMk/>
            <pc:sldMk cId="1733392667" sldId="2147375409"/>
            <ac:picMk id="21" creationId="{3DFE69C6-7615-F259-1869-C13789D718F9}"/>
          </ac:picMkLst>
        </pc:picChg>
      </pc:sldChg>
      <pc:sldChg chg="addSp delSp modSp add mod">
        <pc:chgData name="Luis Moßburger" userId="2a606c2b-1031-4842-b567-351303c62b15" providerId="ADAL" clId="{074C13F4-5714-3343-8842-B2CAB59C4423}" dt="2023-11-05T18:32:27.787" v="4958" actId="1076"/>
        <pc:sldMkLst>
          <pc:docMk/>
          <pc:sldMk cId="989651028" sldId="2147375410"/>
        </pc:sldMkLst>
        <pc:spChg chg="mod topLvl">
          <ac:chgData name="Luis Moßburger" userId="2a606c2b-1031-4842-b567-351303c62b15" providerId="ADAL" clId="{074C13F4-5714-3343-8842-B2CAB59C4423}" dt="2023-11-05T18:32:14.064" v="4955" actId="165"/>
          <ac:spMkLst>
            <pc:docMk/>
            <pc:sldMk cId="989651028" sldId="2147375410"/>
            <ac:spMk id="30" creationId="{7B930138-B99F-2308-8F50-15FA565A83ED}"/>
          </ac:spMkLst>
        </pc:spChg>
        <pc:grpChg chg="del">
          <ac:chgData name="Luis Moßburger" userId="2a606c2b-1031-4842-b567-351303c62b15" providerId="ADAL" clId="{074C13F4-5714-3343-8842-B2CAB59C4423}" dt="2023-11-05T18:32:14.064" v="4955" actId="165"/>
          <ac:grpSpMkLst>
            <pc:docMk/>
            <pc:sldMk cId="989651028" sldId="2147375410"/>
            <ac:grpSpMk id="14" creationId="{19211884-B5A1-4FCA-6AD5-AA3C3B5B7ED1}"/>
          </ac:grpSpMkLst>
        </pc:grpChg>
        <pc:picChg chg="add mod">
          <ac:chgData name="Luis Moßburger" userId="2a606c2b-1031-4842-b567-351303c62b15" providerId="ADAL" clId="{074C13F4-5714-3343-8842-B2CAB59C4423}" dt="2023-11-05T18:32:27.787" v="4958" actId="1076"/>
          <ac:picMkLst>
            <pc:docMk/>
            <pc:sldMk cId="989651028" sldId="2147375410"/>
            <ac:picMk id="7" creationId="{667D7CD2-77B6-A1C4-D8AC-BE4048EF2398}"/>
          </ac:picMkLst>
        </pc:picChg>
        <pc:picChg chg="del topLvl">
          <ac:chgData name="Luis Moßburger" userId="2a606c2b-1031-4842-b567-351303c62b15" providerId="ADAL" clId="{074C13F4-5714-3343-8842-B2CAB59C4423}" dt="2023-11-05T18:32:17.033" v="4956" actId="478"/>
          <ac:picMkLst>
            <pc:docMk/>
            <pc:sldMk cId="989651028" sldId="2147375410"/>
            <ac:picMk id="21" creationId="{3DFE69C6-7615-F259-1869-C13789D718F9}"/>
          </ac:picMkLst>
        </pc:picChg>
      </pc:sldChg>
      <pc:sldChg chg="del">
        <pc:chgData name="Luis Moßburger" userId="2a606c2b-1031-4842-b567-351303c62b15" providerId="ADAL" clId="{074C13F4-5714-3343-8842-B2CAB59C4423}" dt="2024-01-04T07:46:16.876" v="5028" actId="2696"/>
        <pc:sldMkLst>
          <pc:docMk/>
          <pc:sldMk cId="2283482432" sldId="2147375422"/>
        </pc:sldMkLst>
      </pc:sldChg>
      <pc:sldChg chg="addSp delSp modSp add mod">
        <pc:chgData name="Luis Moßburger" userId="2a606c2b-1031-4842-b567-351303c62b15" providerId="ADAL" clId="{074C13F4-5714-3343-8842-B2CAB59C4423}" dt="2024-01-04T07:47:56.479" v="5200" actId="20577"/>
        <pc:sldMkLst>
          <pc:docMk/>
          <pc:sldMk cId="3860445179" sldId="2147375423"/>
        </pc:sldMkLst>
        <pc:spChg chg="mod topLvl">
          <ac:chgData name="Luis Moßburger" userId="2a606c2b-1031-4842-b567-351303c62b15" providerId="ADAL" clId="{074C13F4-5714-3343-8842-B2CAB59C4423}" dt="2024-01-04T07:47:56.479" v="5200" actId="20577"/>
          <ac:spMkLst>
            <pc:docMk/>
            <pc:sldMk cId="3860445179" sldId="2147375423"/>
            <ac:spMk id="30" creationId="{7B930138-B99F-2308-8F50-15FA565A83ED}"/>
          </ac:spMkLst>
        </pc:spChg>
        <pc:grpChg chg="del">
          <ac:chgData name="Luis Moßburger" userId="2a606c2b-1031-4842-b567-351303c62b15" providerId="ADAL" clId="{074C13F4-5714-3343-8842-B2CAB59C4423}" dt="2024-01-04T07:47:24.143" v="5121" actId="478"/>
          <ac:grpSpMkLst>
            <pc:docMk/>
            <pc:sldMk cId="3860445179" sldId="2147375423"/>
            <ac:grpSpMk id="14" creationId="{19211884-B5A1-4FCA-6AD5-AA3C3B5B7ED1}"/>
          </ac:grpSpMkLst>
        </pc:grpChg>
        <pc:picChg chg="add mod">
          <ac:chgData name="Luis Moßburger" userId="2a606c2b-1031-4842-b567-351303c62b15" providerId="ADAL" clId="{074C13F4-5714-3343-8842-B2CAB59C4423}" dt="2024-01-04T07:47:28.801" v="5123" actId="1076"/>
          <ac:picMkLst>
            <pc:docMk/>
            <pc:sldMk cId="3860445179" sldId="2147375423"/>
            <ac:picMk id="7" creationId="{DAEE8462-64F8-AB81-088F-F6EC7FCEA05D}"/>
          </ac:picMkLst>
        </pc:picChg>
        <pc:picChg chg="del topLvl">
          <ac:chgData name="Luis Moßburger" userId="2a606c2b-1031-4842-b567-351303c62b15" providerId="ADAL" clId="{074C13F4-5714-3343-8842-B2CAB59C4423}" dt="2024-01-04T07:47:24.143" v="5121" actId="478"/>
          <ac:picMkLst>
            <pc:docMk/>
            <pc:sldMk cId="3860445179" sldId="2147375423"/>
            <ac:picMk id="21" creationId="{3DFE69C6-7615-F259-1869-C13789D718F9}"/>
          </ac:picMkLst>
        </pc:picChg>
      </pc:sldChg>
      <pc:sldChg chg="addSp delSp modSp add mod">
        <pc:chgData name="Luis Moßburger" userId="2a606c2b-1031-4842-b567-351303c62b15" providerId="ADAL" clId="{074C13F4-5714-3343-8842-B2CAB59C4423}" dt="2024-01-04T07:47:12.543" v="5120" actId="1076"/>
        <pc:sldMkLst>
          <pc:docMk/>
          <pc:sldMk cId="1924204732" sldId="2147375424"/>
        </pc:sldMkLst>
        <pc:spChg chg="add mod">
          <ac:chgData name="Luis Moßburger" userId="2a606c2b-1031-4842-b567-351303c62b15" providerId="ADAL" clId="{074C13F4-5714-3343-8842-B2CAB59C4423}" dt="2024-01-04T07:47:12.543" v="5120" actId="1076"/>
          <ac:spMkLst>
            <pc:docMk/>
            <pc:sldMk cId="1924204732" sldId="2147375424"/>
            <ac:spMk id="7" creationId="{83AA4677-88A2-FBC9-2B07-EFEC687EA89F}"/>
          </ac:spMkLst>
        </pc:spChg>
        <pc:spChg chg="mod topLvl">
          <ac:chgData name="Luis Moßburger" userId="2a606c2b-1031-4842-b567-351303c62b15" providerId="ADAL" clId="{074C13F4-5714-3343-8842-B2CAB59C4423}" dt="2024-01-04T07:47:09.437" v="5119" actId="478"/>
          <ac:spMkLst>
            <pc:docMk/>
            <pc:sldMk cId="1924204732" sldId="2147375424"/>
            <ac:spMk id="30" creationId="{7B930138-B99F-2308-8F50-15FA565A83ED}"/>
          </ac:spMkLst>
        </pc:spChg>
        <pc:grpChg chg="del">
          <ac:chgData name="Luis Moßburger" userId="2a606c2b-1031-4842-b567-351303c62b15" providerId="ADAL" clId="{074C13F4-5714-3343-8842-B2CAB59C4423}" dt="2024-01-04T07:47:09.437" v="5119" actId="478"/>
          <ac:grpSpMkLst>
            <pc:docMk/>
            <pc:sldMk cId="1924204732" sldId="2147375424"/>
            <ac:grpSpMk id="14" creationId="{19211884-B5A1-4FCA-6AD5-AA3C3B5B7ED1}"/>
          </ac:grpSpMkLst>
        </pc:grpChg>
        <pc:picChg chg="del topLvl">
          <ac:chgData name="Luis Moßburger" userId="2a606c2b-1031-4842-b567-351303c62b15" providerId="ADAL" clId="{074C13F4-5714-3343-8842-B2CAB59C4423}" dt="2024-01-04T07:47:09.437" v="5119" actId="478"/>
          <ac:picMkLst>
            <pc:docMk/>
            <pc:sldMk cId="1924204732" sldId="2147375424"/>
            <ac:picMk id="21" creationId="{3DFE69C6-7615-F259-1869-C13789D718F9}"/>
          </ac:picMkLst>
        </pc:picChg>
      </pc:sldChg>
      <pc:sldChg chg="addSp delSp modSp add mod">
        <pc:chgData name="Luis Moßburger" userId="2a606c2b-1031-4842-b567-351303c62b15" providerId="ADAL" clId="{074C13F4-5714-3343-8842-B2CAB59C4423}" dt="2024-01-04T07:49:10.528" v="5300" actId="20577"/>
        <pc:sldMkLst>
          <pc:docMk/>
          <pc:sldMk cId="100890757" sldId="2147375425"/>
        </pc:sldMkLst>
        <pc:spChg chg="mod">
          <ac:chgData name="Luis Moßburger" userId="2a606c2b-1031-4842-b567-351303c62b15" providerId="ADAL" clId="{074C13F4-5714-3343-8842-B2CAB59C4423}" dt="2024-01-04T07:49:10.528" v="5300" actId="20577"/>
          <ac:spMkLst>
            <pc:docMk/>
            <pc:sldMk cId="100890757" sldId="2147375425"/>
            <ac:spMk id="30" creationId="{7B930138-B99F-2308-8F50-15FA565A83ED}"/>
          </ac:spMkLst>
        </pc:spChg>
        <pc:picChg chg="del">
          <ac:chgData name="Luis Moßburger" userId="2a606c2b-1031-4842-b567-351303c62b15" providerId="ADAL" clId="{074C13F4-5714-3343-8842-B2CAB59C4423}" dt="2024-01-04T07:48:45.792" v="5204" actId="478"/>
          <ac:picMkLst>
            <pc:docMk/>
            <pc:sldMk cId="100890757" sldId="2147375425"/>
            <ac:picMk id="7" creationId="{DAEE8462-64F8-AB81-088F-F6EC7FCEA05D}"/>
          </ac:picMkLst>
        </pc:picChg>
        <pc:picChg chg="add mod">
          <ac:chgData name="Luis Moßburger" userId="2a606c2b-1031-4842-b567-351303c62b15" providerId="ADAL" clId="{074C13F4-5714-3343-8842-B2CAB59C4423}" dt="2024-01-04T07:48:50.794" v="5206" actId="1076"/>
          <ac:picMkLst>
            <pc:docMk/>
            <pc:sldMk cId="100890757" sldId="2147375425"/>
            <ac:picMk id="8" creationId="{86A6DE07-608E-F6E6-6414-C2B808B9E70C}"/>
          </ac:picMkLst>
        </pc:picChg>
      </pc:sldChg>
      <pc:sldChg chg="add del">
        <pc:chgData name="Luis Moßburger" userId="2a606c2b-1031-4842-b567-351303c62b15" providerId="ADAL" clId="{074C13F4-5714-3343-8842-B2CAB59C4423}" dt="2024-01-04T07:48:35.397" v="5203" actId="2696"/>
        <pc:sldMkLst>
          <pc:docMk/>
          <pc:sldMk cId="1067996138" sldId="2147375426"/>
        </pc:sldMkLst>
      </pc:sldChg>
      <pc:sldMasterChg chg="delSldLayout">
        <pc:chgData name="Luis Moßburger" userId="2a606c2b-1031-4842-b567-351303c62b15" providerId="ADAL" clId="{074C13F4-5714-3343-8842-B2CAB59C4423}" dt="2023-11-05T18:03:12.729" v="4011" actId="2696"/>
        <pc:sldMasterMkLst>
          <pc:docMk/>
          <pc:sldMasterMk cId="3689281850" sldId="2147483648"/>
        </pc:sldMasterMkLst>
        <pc:sldLayoutChg chg="del">
          <pc:chgData name="Luis Moßburger" userId="2a606c2b-1031-4842-b567-351303c62b15" providerId="ADAL" clId="{074C13F4-5714-3343-8842-B2CAB59C4423}" dt="2023-11-05T17:54:37.382" v="3502" actId="2696"/>
          <pc:sldLayoutMkLst>
            <pc:docMk/>
            <pc:sldMasterMk cId="3689281850" sldId="2147483648"/>
            <pc:sldLayoutMk cId="1005436203" sldId="2147483728"/>
          </pc:sldLayoutMkLst>
        </pc:sldLayoutChg>
        <pc:sldLayoutChg chg="del">
          <pc:chgData name="Luis Moßburger" userId="2a606c2b-1031-4842-b567-351303c62b15" providerId="ADAL" clId="{074C13F4-5714-3343-8842-B2CAB59C4423}" dt="2023-11-05T18:03:12.729" v="4011" actId="2696"/>
          <pc:sldLayoutMkLst>
            <pc:docMk/>
            <pc:sldMasterMk cId="3689281850" sldId="2147483648"/>
            <pc:sldLayoutMk cId="2447987207" sldId="2147483728"/>
          </pc:sldLayoutMkLst>
        </pc:sldLayoutChg>
        <pc:sldLayoutChg chg="del">
          <pc:chgData name="Luis Moßburger" userId="2a606c2b-1031-4842-b567-351303c62b15" providerId="ADAL" clId="{074C13F4-5714-3343-8842-B2CAB59C4423}" dt="2023-11-05T15:50:51.931" v="1249" actId="2696"/>
          <pc:sldLayoutMkLst>
            <pc:docMk/>
            <pc:sldMasterMk cId="3689281850" sldId="2147483648"/>
            <pc:sldLayoutMk cId="2967793753" sldId="2147483728"/>
          </pc:sldLayoutMkLst>
        </pc:sldLayoutChg>
      </pc:sldMasterChg>
      <pc:sldMasterChg chg="delSldLayout">
        <pc:chgData name="Luis Moßburger" userId="2a606c2b-1031-4842-b567-351303c62b15" providerId="ADAL" clId="{074C13F4-5714-3343-8842-B2CAB59C4423}" dt="2023-11-05T16:45:22.075" v="2086" actId="2696"/>
        <pc:sldMasterMkLst>
          <pc:docMk/>
          <pc:sldMasterMk cId="3689281850" sldId="2147483718"/>
        </pc:sldMasterMkLst>
        <pc:sldLayoutChg chg="del">
          <pc:chgData name="Luis Moßburger" userId="2a606c2b-1031-4842-b567-351303c62b15" providerId="ADAL" clId="{074C13F4-5714-3343-8842-B2CAB59C4423}" dt="2023-11-05T16:45:22.075" v="2086" actId="2696"/>
          <pc:sldLayoutMkLst>
            <pc:docMk/>
            <pc:sldMasterMk cId="3689281850" sldId="2147483718"/>
            <pc:sldLayoutMk cId="907934191" sldId="2147483728"/>
          </pc:sldLayoutMkLst>
        </pc:sldLayoutChg>
      </pc:sldMasterChg>
    </pc:docChg>
  </pc:docChgLst>
  <pc:docChgLst>
    <pc:chgData name="Luis Moßburger" userId="S::luis.mossburger@byte.bayern::2a606c2b-1031-4842-b567-351303c62b15" providerId="AD" clId="Web-{F8A37F98-60F5-8C48-183F-888E323BEF04}"/>
    <pc:docChg chg="addSld delSld modSld addSection modSection">
      <pc:chgData name="Luis Moßburger" userId="S::luis.mossburger@byte.bayern::2a606c2b-1031-4842-b567-351303c62b15" providerId="AD" clId="Web-{F8A37F98-60F5-8C48-183F-888E323BEF04}" dt="2023-11-05T18:39:35.077" v="14"/>
      <pc:docMkLst>
        <pc:docMk/>
      </pc:docMkLst>
      <pc:sldChg chg="del">
        <pc:chgData name="Luis Moßburger" userId="S::luis.mossburger@byte.bayern::2a606c2b-1031-4842-b567-351303c62b15" providerId="AD" clId="Web-{F8A37F98-60F5-8C48-183F-888E323BEF04}" dt="2023-11-05T18:35:28.449" v="0"/>
        <pc:sldMkLst>
          <pc:docMk/>
          <pc:sldMk cId="1151498208" sldId="2147375407"/>
        </pc:sldMkLst>
      </pc:sldChg>
      <pc:sldChg chg="addSp delSp add">
        <pc:chgData name="Luis Moßburger" userId="S::luis.mossburger@byte.bayern::2a606c2b-1031-4842-b567-351303c62b15" providerId="AD" clId="Web-{F8A37F98-60F5-8C48-183F-888E323BEF04}" dt="2023-11-05T18:39:35.077" v="14"/>
        <pc:sldMkLst>
          <pc:docMk/>
          <pc:sldMk cId="3992212040" sldId="2147375407"/>
        </pc:sldMkLst>
        <pc:picChg chg="del">
          <ac:chgData name="Luis Moßburger" userId="S::luis.mossburger@byte.bayern::2a606c2b-1031-4842-b567-351303c62b15" providerId="AD" clId="Web-{F8A37F98-60F5-8C48-183F-888E323BEF04}" dt="2023-11-05T18:39:34.952" v="13"/>
          <ac:picMkLst>
            <pc:docMk/>
            <pc:sldMk cId="3992212040" sldId="2147375407"/>
            <ac:picMk id="9" creationId="{7009576A-4CD9-8E80-5CC3-3813DAA7FAAB}"/>
          </ac:picMkLst>
        </pc:picChg>
        <pc:picChg chg="add">
          <ac:chgData name="Luis Moßburger" userId="S::luis.mossburger@byte.bayern::2a606c2b-1031-4842-b567-351303c62b15" providerId="AD" clId="Web-{F8A37F98-60F5-8C48-183F-888E323BEF04}" dt="2023-11-05T18:39:35.077" v="14"/>
          <ac:picMkLst>
            <pc:docMk/>
            <pc:sldMk cId="3992212040" sldId="2147375407"/>
            <ac:picMk id="10" creationId="{B5ACCB07-FD64-8495-78A6-E789716C3CEB}"/>
          </ac:picMkLst>
        </pc:picChg>
      </pc:sldChg>
      <pc:sldChg chg="addSp delSp add">
        <pc:chgData name="Luis Moßburger" userId="S::luis.mossburger@byte.bayern::2a606c2b-1031-4842-b567-351303c62b15" providerId="AD" clId="Web-{F8A37F98-60F5-8C48-183F-888E323BEF04}" dt="2023-11-05T18:39:31.296" v="12"/>
        <pc:sldMkLst>
          <pc:docMk/>
          <pc:sldMk cId="939471627" sldId="2147375408"/>
        </pc:sldMkLst>
        <pc:picChg chg="del">
          <ac:chgData name="Luis Moßburger" userId="S::luis.mossburger@byte.bayern::2a606c2b-1031-4842-b567-351303c62b15" providerId="AD" clId="Web-{F8A37F98-60F5-8C48-183F-888E323BEF04}" dt="2023-11-05T18:39:31.062" v="11"/>
          <ac:picMkLst>
            <pc:docMk/>
            <pc:sldMk cId="939471627" sldId="2147375408"/>
            <ac:picMk id="9" creationId="{7009576A-4CD9-8E80-5CC3-3813DAA7FAAB}"/>
          </ac:picMkLst>
        </pc:picChg>
        <pc:picChg chg="add">
          <ac:chgData name="Luis Moßburger" userId="S::luis.mossburger@byte.bayern::2a606c2b-1031-4842-b567-351303c62b15" providerId="AD" clId="Web-{F8A37F98-60F5-8C48-183F-888E323BEF04}" dt="2023-11-05T18:39:31.296" v="12"/>
          <ac:picMkLst>
            <pc:docMk/>
            <pc:sldMk cId="939471627" sldId="2147375408"/>
            <ac:picMk id="10" creationId="{16308642-C02C-8FE3-3A06-568DD129C2D9}"/>
          </ac:picMkLst>
        </pc:picChg>
      </pc:sldChg>
      <pc:sldChg chg="addSp delSp add">
        <pc:chgData name="Luis Moßburger" userId="S::luis.mossburger@byte.bayern::2a606c2b-1031-4842-b567-351303c62b15" providerId="AD" clId="Web-{F8A37F98-60F5-8C48-183F-888E323BEF04}" dt="2023-11-05T18:39:27.655" v="10"/>
        <pc:sldMkLst>
          <pc:docMk/>
          <pc:sldMk cId="1485481291" sldId="2147375409"/>
        </pc:sldMkLst>
        <pc:picChg chg="del">
          <ac:chgData name="Luis Moßburger" userId="S::luis.mossburger@byte.bayern::2a606c2b-1031-4842-b567-351303c62b15" providerId="AD" clId="Web-{F8A37F98-60F5-8C48-183F-888E323BEF04}" dt="2023-11-05T18:39:27.546" v="9"/>
          <ac:picMkLst>
            <pc:docMk/>
            <pc:sldMk cId="1485481291" sldId="2147375409"/>
            <ac:picMk id="9" creationId="{7009576A-4CD9-8E80-5CC3-3813DAA7FAAB}"/>
          </ac:picMkLst>
        </pc:picChg>
        <pc:picChg chg="add">
          <ac:chgData name="Luis Moßburger" userId="S::luis.mossburger@byte.bayern::2a606c2b-1031-4842-b567-351303c62b15" providerId="AD" clId="Web-{F8A37F98-60F5-8C48-183F-888E323BEF04}" dt="2023-11-05T18:39:27.655" v="10"/>
          <ac:picMkLst>
            <pc:docMk/>
            <pc:sldMk cId="1485481291" sldId="2147375409"/>
            <ac:picMk id="10" creationId="{0BDF2291-FDB5-88B3-2BF3-95143568900A}"/>
          </ac:picMkLst>
        </pc:picChg>
      </pc:sldChg>
      <pc:sldChg chg="addSp delSp add">
        <pc:chgData name="Luis Moßburger" userId="S::luis.mossburger@byte.bayern::2a606c2b-1031-4842-b567-351303c62b15" providerId="AD" clId="Web-{F8A37F98-60F5-8C48-183F-888E323BEF04}" dt="2023-11-05T18:39:23.905" v="8"/>
        <pc:sldMkLst>
          <pc:docMk/>
          <pc:sldMk cId="85070695" sldId="2147375410"/>
        </pc:sldMkLst>
        <pc:picChg chg="add">
          <ac:chgData name="Luis Moßburger" userId="S::luis.mossburger@byte.bayern::2a606c2b-1031-4842-b567-351303c62b15" providerId="AD" clId="Web-{F8A37F98-60F5-8C48-183F-888E323BEF04}" dt="2023-11-05T18:39:23.905" v="8"/>
          <ac:picMkLst>
            <pc:docMk/>
            <pc:sldMk cId="85070695" sldId="2147375410"/>
            <ac:picMk id="8" creationId="{2F3275FA-3061-C73E-AAFF-0268D2BF2BF0}"/>
          </ac:picMkLst>
        </pc:picChg>
        <pc:picChg chg="del">
          <ac:chgData name="Luis Moßburger" userId="S::luis.mossburger@byte.bayern::2a606c2b-1031-4842-b567-351303c62b15" providerId="AD" clId="Web-{F8A37F98-60F5-8C48-183F-888E323BEF04}" dt="2023-11-05T18:39:23.484" v="7"/>
          <ac:picMkLst>
            <pc:docMk/>
            <pc:sldMk cId="85070695" sldId="2147375410"/>
            <ac:picMk id="9" creationId="{7009576A-4CD9-8E80-5CC3-3813DAA7FAAB}"/>
          </ac:picMkLst>
        </pc:picChg>
      </pc:sldChg>
      <pc:sldMasterChg chg="addSldLayout">
        <pc:chgData name="Luis Moßburger" userId="S::luis.mossburger@byte.bayern::2a606c2b-1031-4842-b567-351303c62b15" providerId="AD" clId="Web-{F8A37F98-60F5-8C48-183F-888E323BEF04}" dt="2023-11-05T18:35:36.809" v="4"/>
        <pc:sldMasterMkLst>
          <pc:docMk/>
          <pc:sldMasterMk cId="3689281850" sldId="2147483718"/>
        </pc:sldMasterMkLst>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3554626039" sldId="2147483728"/>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48915243" sldId="2147483729"/>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2391950306" sldId="2147483730"/>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2391950306" sldId="2147483731"/>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3721620909" sldId="2147483732"/>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3994879884" sldId="2147483733"/>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2153096281" sldId="2147483734"/>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2908760135" sldId="2147483735"/>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3214302489" sldId="2147483736"/>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1951709784" sldId="2147483737"/>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1820548716" sldId="2147483738"/>
          </pc:sldLayoutMkLst>
        </pc:sldLayoutChg>
        <pc:sldLayoutChg chg="add">
          <pc:chgData name="Luis Moßburger" userId="S::luis.mossburger@byte.bayern::2a606c2b-1031-4842-b567-351303c62b15" providerId="AD" clId="Web-{F8A37F98-60F5-8C48-183F-888E323BEF04}" dt="2023-11-05T18:35:34.637" v="1"/>
          <pc:sldLayoutMkLst>
            <pc:docMk/>
            <pc:sldMasterMk cId="3689281850" sldId="2147483718"/>
            <pc:sldLayoutMk cId="1913902303" sldId="2147483739"/>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3554626039" sldId="2147483740"/>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48915243" sldId="2147483741"/>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2391950306" sldId="2147483742"/>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2391950306" sldId="2147483743"/>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3721620909" sldId="2147483744"/>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3994879884" sldId="2147483745"/>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2153096281" sldId="2147483746"/>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2908760135" sldId="2147483747"/>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3214302489" sldId="2147483748"/>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1951709784" sldId="2147483749"/>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1820548716" sldId="2147483750"/>
          </pc:sldLayoutMkLst>
        </pc:sldLayoutChg>
        <pc:sldLayoutChg chg="add">
          <pc:chgData name="Luis Moßburger" userId="S::luis.mossburger@byte.bayern::2a606c2b-1031-4842-b567-351303c62b15" providerId="AD" clId="Web-{F8A37F98-60F5-8C48-183F-888E323BEF04}" dt="2023-11-05T18:35:35.293" v="2"/>
          <pc:sldLayoutMkLst>
            <pc:docMk/>
            <pc:sldMasterMk cId="3689281850" sldId="2147483718"/>
            <pc:sldLayoutMk cId="1913902303" sldId="2147483751"/>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3554626039" sldId="2147483752"/>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48915243" sldId="2147483753"/>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2391950306" sldId="2147483754"/>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2391950306" sldId="2147483755"/>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3721620909" sldId="2147483756"/>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3994879884" sldId="2147483757"/>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2153096281" sldId="2147483758"/>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2908760135" sldId="2147483759"/>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3214302489" sldId="2147483760"/>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1951709784" sldId="2147483761"/>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1820548716" sldId="2147483762"/>
          </pc:sldLayoutMkLst>
        </pc:sldLayoutChg>
        <pc:sldLayoutChg chg="add">
          <pc:chgData name="Luis Moßburger" userId="S::luis.mossburger@byte.bayern::2a606c2b-1031-4842-b567-351303c62b15" providerId="AD" clId="Web-{F8A37F98-60F5-8C48-183F-888E323BEF04}" dt="2023-11-05T18:35:36.059" v="3"/>
          <pc:sldLayoutMkLst>
            <pc:docMk/>
            <pc:sldMasterMk cId="3689281850" sldId="2147483718"/>
            <pc:sldLayoutMk cId="1913902303" sldId="2147483763"/>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3554626039" sldId="2147483764"/>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48915243" sldId="2147483765"/>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2391950306" sldId="2147483766"/>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2391950306" sldId="2147483767"/>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3721620909" sldId="2147483768"/>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3994879884" sldId="2147483769"/>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2153096281" sldId="2147483770"/>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2908760135" sldId="2147483771"/>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3214302489" sldId="2147483772"/>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1951709784" sldId="2147483773"/>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1820548716" sldId="2147483774"/>
          </pc:sldLayoutMkLst>
        </pc:sldLayoutChg>
        <pc:sldLayoutChg chg="add">
          <pc:chgData name="Luis Moßburger" userId="S::luis.mossburger@byte.bayern::2a606c2b-1031-4842-b567-351303c62b15" providerId="AD" clId="Web-{F8A37F98-60F5-8C48-183F-888E323BEF04}" dt="2023-11-05T18:35:36.809" v="4"/>
          <pc:sldLayoutMkLst>
            <pc:docMk/>
            <pc:sldMasterMk cId="3689281850" sldId="2147483718"/>
            <pc:sldLayoutMk cId="1913902303" sldId="2147483775"/>
          </pc:sldLayoutMkLst>
        </pc:sldLayoutChg>
      </pc:sldMasterChg>
    </pc:docChg>
  </pc:docChgLst>
  <pc:docChgLst>
    <pc:chgData name="Luis Moßburger" userId="S::luis.mossburger@byte.bayern::2a606c2b-1031-4842-b567-351303c62b15" providerId="AD" clId="Web-{C7D9CCDF-2039-2D4B-2053-403C3E17C4C6}"/>
    <pc:docChg chg="addSld modSld modSection">
      <pc:chgData name="Luis Moßburger" userId="S::luis.mossburger@byte.bayern::2a606c2b-1031-4842-b567-351303c62b15" providerId="AD" clId="Web-{C7D9CCDF-2039-2D4B-2053-403C3E17C4C6}" dt="2023-11-05T18:16:52.083" v="23" actId="20577"/>
      <pc:docMkLst>
        <pc:docMk/>
      </pc:docMkLst>
      <pc:sldChg chg="modSp">
        <pc:chgData name="Luis Moßburger" userId="S::luis.mossburger@byte.bayern::2a606c2b-1031-4842-b567-351303c62b15" providerId="AD" clId="Web-{C7D9CCDF-2039-2D4B-2053-403C3E17C4C6}" dt="2023-11-05T18:16:33.911" v="13" actId="20577"/>
        <pc:sldMkLst>
          <pc:docMk/>
          <pc:sldMk cId="3431314746" sldId="2147375405"/>
        </pc:sldMkLst>
        <pc:spChg chg="mod">
          <ac:chgData name="Luis Moßburger" userId="S::luis.mossburger@byte.bayern::2a606c2b-1031-4842-b567-351303c62b15" providerId="AD" clId="Web-{C7D9CCDF-2039-2D4B-2053-403C3E17C4C6}" dt="2023-11-05T18:16:33.911" v="13" actId="20577"/>
          <ac:spMkLst>
            <pc:docMk/>
            <pc:sldMk cId="3431314746" sldId="2147375405"/>
            <ac:spMk id="2" creationId="{667870DB-3A4C-2C15-269A-92696B212B11}"/>
          </ac:spMkLst>
        </pc:spChg>
      </pc:sldChg>
      <pc:sldChg chg="modSp add replId">
        <pc:chgData name="Luis Moßburger" userId="S::luis.mossburger@byte.bayern::2a606c2b-1031-4842-b567-351303c62b15" providerId="AD" clId="Web-{C7D9CCDF-2039-2D4B-2053-403C3E17C4C6}" dt="2023-11-05T18:16:52.083" v="23" actId="20577"/>
        <pc:sldMkLst>
          <pc:docMk/>
          <pc:sldMk cId="1151498208" sldId="2147375407"/>
        </pc:sldMkLst>
        <pc:spChg chg="mod">
          <ac:chgData name="Luis Moßburger" userId="S::luis.mossburger@byte.bayern::2a606c2b-1031-4842-b567-351303c62b15" providerId="AD" clId="Web-{C7D9CCDF-2039-2D4B-2053-403C3E17C4C6}" dt="2023-11-05T18:16:52.083" v="23" actId="20577"/>
          <ac:spMkLst>
            <pc:docMk/>
            <pc:sldMk cId="1151498208" sldId="2147375407"/>
            <ac:spMk id="7" creationId="{BE42361A-F3BD-4CBA-80E8-876B421A26E0}"/>
          </ac:spMkLst>
        </pc:spChg>
      </pc:sldChg>
    </pc:docChg>
  </pc:docChgLst>
  <pc:docChgLst>
    <pc:chgData name="Tino Kühnel" userId="b4ac53a3-162f-4d7e-a628-fb95a7ef6df5" providerId="ADAL" clId="{83840B2F-7618-485B-831D-C56FA9388717}"/>
    <pc:docChg chg="undo custSel addSld delSld modSld sldOrd modMainMaster">
      <pc:chgData name="Tino Kühnel" userId="b4ac53a3-162f-4d7e-a628-fb95a7ef6df5" providerId="ADAL" clId="{83840B2F-7618-485B-831D-C56FA9388717}" dt="2023-10-13T14:43:26.579" v="417" actId="1076"/>
      <pc:docMkLst>
        <pc:docMk/>
      </pc:docMkLst>
      <pc:sldChg chg="addSp modSp">
        <pc:chgData name="Tino Kühnel" userId="b4ac53a3-162f-4d7e-a628-fb95a7ef6df5" providerId="ADAL" clId="{83840B2F-7618-485B-831D-C56FA9388717}" dt="2023-10-10T16:40:19.184" v="342"/>
        <pc:sldMkLst>
          <pc:docMk/>
          <pc:sldMk cId="2201049876" sldId="257"/>
        </pc:sldMkLst>
        <pc:picChg chg="add mod">
          <ac:chgData name="Tino Kühnel" userId="b4ac53a3-162f-4d7e-a628-fb95a7ef6df5" providerId="ADAL" clId="{83840B2F-7618-485B-831D-C56FA9388717}" dt="2023-10-10T16:40:19.184" v="342"/>
          <ac:picMkLst>
            <pc:docMk/>
            <pc:sldMk cId="2201049876" sldId="257"/>
            <ac:picMk id="2" creationId="{12010D6B-8369-1F73-6EBE-D65747089EE8}"/>
          </ac:picMkLst>
        </pc:picChg>
      </pc:sldChg>
      <pc:sldChg chg="addSp modSp">
        <pc:chgData name="Tino Kühnel" userId="b4ac53a3-162f-4d7e-a628-fb95a7ef6df5" providerId="ADAL" clId="{83840B2F-7618-485B-831D-C56FA9388717}" dt="2023-10-10T16:35:18.582" v="308"/>
        <pc:sldMkLst>
          <pc:docMk/>
          <pc:sldMk cId="2744386159" sldId="277"/>
        </pc:sldMkLst>
        <pc:spChg chg="add mod">
          <ac:chgData name="Tino Kühnel" userId="b4ac53a3-162f-4d7e-a628-fb95a7ef6df5" providerId="ADAL" clId="{83840B2F-7618-485B-831D-C56FA9388717}" dt="2023-10-10T16:26:41.676" v="256"/>
          <ac:spMkLst>
            <pc:docMk/>
            <pc:sldMk cId="2744386159" sldId="277"/>
            <ac:spMk id="2" creationId="{4F3BFC27-794F-3A71-8207-EAA4C98CE330}"/>
          </ac:spMkLst>
        </pc:spChg>
        <pc:cxnChg chg="add mod">
          <ac:chgData name="Tino Kühnel" userId="b4ac53a3-162f-4d7e-a628-fb95a7ef6df5" providerId="ADAL" clId="{83840B2F-7618-485B-831D-C56FA9388717}" dt="2023-10-10T16:35:18.582" v="308"/>
          <ac:cxnSpMkLst>
            <pc:docMk/>
            <pc:sldMk cId="2744386159" sldId="277"/>
            <ac:cxnSpMk id="5" creationId="{2C74D9C7-C6AF-FE7D-69C5-9B14E60B5BC8}"/>
          </ac:cxnSpMkLst>
        </pc:cxnChg>
      </pc:sldChg>
      <pc:sldChg chg="addSp modSp mod">
        <pc:chgData name="Tino Kühnel" userId="b4ac53a3-162f-4d7e-a628-fb95a7ef6df5" providerId="ADAL" clId="{83840B2F-7618-485B-831D-C56FA9388717}" dt="2023-10-10T16:35:33.320" v="309"/>
        <pc:sldMkLst>
          <pc:docMk/>
          <pc:sldMk cId="1572031703" sldId="278"/>
        </pc:sldMkLst>
        <pc:spChg chg="mod">
          <ac:chgData name="Tino Kühnel" userId="b4ac53a3-162f-4d7e-a628-fb95a7ef6df5" providerId="ADAL" clId="{83840B2F-7618-485B-831D-C56FA9388717}" dt="2023-10-10T16:26:47.357" v="257" actId="14100"/>
          <ac:spMkLst>
            <pc:docMk/>
            <pc:sldMk cId="1572031703" sldId="278"/>
            <ac:spMk id="2" creationId="{C650F71B-B281-2BCE-BA1F-7C2035993E8B}"/>
          </ac:spMkLst>
        </pc:spChg>
        <pc:cxnChg chg="add mod">
          <ac:chgData name="Tino Kühnel" userId="b4ac53a3-162f-4d7e-a628-fb95a7ef6df5" providerId="ADAL" clId="{83840B2F-7618-485B-831D-C56FA9388717}" dt="2023-10-10T16:35:33.320" v="309"/>
          <ac:cxnSpMkLst>
            <pc:docMk/>
            <pc:sldMk cId="1572031703" sldId="278"/>
            <ac:cxnSpMk id="5" creationId="{C39EC32A-4A8C-DB35-690C-14A71431EC21}"/>
          </ac:cxnSpMkLst>
        </pc:cxnChg>
      </pc:sldChg>
      <pc:sldChg chg="addSp delSp modSp mod">
        <pc:chgData name="Tino Kühnel" userId="b4ac53a3-162f-4d7e-a628-fb95a7ef6df5" providerId="ADAL" clId="{83840B2F-7618-485B-831D-C56FA9388717}" dt="2023-10-10T16:44:06.080" v="366" actId="478"/>
        <pc:sldMkLst>
          <pc:docMk/>
          <pc:sldMk cId="3818800574" sldId="289"/>
        </pc:sldMkLst>
        <pc:spChg chg="mod">
          <ac:chgData name="Tino Kühnel" userId="b4ac53a3-162f-4d7e-a628-fb95a7ef6df5" providerId="ADAL" clId="{83840B2F-7618-485B-831D-C56FA9388717}" dt="2023-10-10T16:26:16.089" v="253" actId="14100"/>
          <ac:spMkLst>
            <pc:docMk/>
            <pc:sldMk cId="3818800574" sldId="289"/>
            <ac:spMk id="4" creationId="{8F2B3B80-C685-2626-DBF5-0B33ABFCD230}"/>
          </ac:spMkLst>
        </pc:spChg>
        <pc:spChg chg="add mod">
          <ac:chgData name="Tino Kühnel" userId="b4ac53a3-162f-4d7e-a628-fb95a7ef6df5" providerId="ADAL" clId="{83840B2F-7618-485B-831D-C56FA9388717}" dt="2023-10-10T16:39:22.025" v="335"/>
          <ac:spMkLst>
            <pc:docMk/>
            <pc:sldMk cId="3818800574" sldId="289"/>
            <ac:spMk id="7" creationId="{8C93F36F-BD9F-9562-2765-7DAD3181680A}"/>
          </ac:spMkLst>
        </pc:spChg>
        <pc:spChg chg="add mod">
          <ac:chgData name="Tino Kühnel" userId="b4ac53a3-162f-4d7e-a628-fb95a7ef6df5" providerId="ADAL" clId="{83840B2F-7618-485B-831D-C56FA9388717}" dt="2023-10-10T16:39:22.025" v="335"/>
          <ac:spMkLst>
            <pc:docMk/>
            <pc:sldMk cId="3818800574" sldId="289"/>
            <ac:spMk id="9" creationId="{CA0F7E27-5D92-D737-6960-580C2B109CAD}"/>
          </ac:spMkLst>
        </pc:spChg>
        <pc:cxnChg chg="add del mod">
          <ac:chgData name="Tino Kühnel" userId="b4ac53a3-162f-4d7e-a628-fb95a7ef6df5" providerId="ADAL" clId="{83840B2F-7618-485B-831D-C56FA9388717}" dt="2023-10-10T16:44:06.080" v="366" actId="478"/>
          <ac:cxnSpMkLst>
            <pc:docMk/>
            <pc:sldMk cId="3818800574" sldId="289"/>
            <ac:cxnSpMk id="3" creationId="{ACC31710-6907-BEBD-740F-DB32F34E4FDC}"/>
          </ac:cxnSpMkLst>
        </pc:cxnChg>
      </pc:sldChg>
      <pc:sldChg chg="addSp modSp mod">
        <pc:chgData name="Tino Kühnel" userId="b4ac53a3-162f-4d7e-a628-fb95a7ef6df5" providerId="ADAL" clId="{83840B2F-7618-485B-831D-C56FA9388717}" dt="2023-10-10T16:34:45.815" v="302" actId="208"/>
        <pc:sldMkLst>
          <pc:docMk/>
          <pc:sldMk cId="1299689136" sldId="296"/>
        </pc:sldMkLst>
        <pc:spChg chg="mod">
          <ac:chgData name="Tino Kühnel" userId="b4ac53a3-162f-4d7e-a628-fb95a7ef6df5" providerId="ADAL" clId="{83840B2F-7618-485B-831D-C56FA9388717}" dt="2023-10-10T16:26:23.437" v="254" actId="14100"/>
          <ac:spMkLst>
            <pc:docMk/>
            <pc:sldMk cId="1299689136" sldId="296"/>
            <ac:spMk id="2" creationId="{F15086EC-3804-7188-804F-E629EB9F78FE}"/>
          </ac:spMkLst>
        </pc:spChg>
        <pc:cxnChg chg="add mod">
          <ac:chgData name="Tino Kühnel" userId="b4ac53a3-162f-4d7e-a628-fb95a7ef6df5" providerId="ADAL" clId="{83840B2F-7618-485B-831D-C56FA9388717}" dt="2023-10-10T16:34:45.815" v="302" actId="208"/>
          <ac:cxnSpMkLst>
            <pc:docMk/>
            <pc:sldMk cId="1299689136" sldId="296"/>
            <ac:cxnSpMk id="8" creationId="{1CE0250A-5FDA-8FAA-682B-074B64B8C917}"/>
          </ac:cxnSpMkLst>
        </pc:cxnChg>
      </pc:sldChg>
      <pc:sldChg chg="modSp mod">
        <pc:chgData name="Tino Kühnel" userId="b4ac53a3-162f-4d7e-a628-fb95a7ef6df5" providerId="ADAL" clId="{83840B2F-7618-485B-831D-C56FA9388717}" dt="2023-10-10T16:37:37.475" v="317" actId="14100"/>
        <pc:sldMkLst>
          <pc:docMk/>
          <pc:sldMk cId="2721334043" sldId="2147375316"/>
        </pc:sldMkLst>
        <pc:spChg chg="mod">
          <ac:chgData name="Tino Kühnel" userId="b4ac53a3-162f-4d7e-a628-fb95a7ef6df5" providerId="ADAL" clId="{83840B2F-7618-485B-831D-C56FA9388717}" dt="2023-10-10T16:37:37.475" v="317" actId="14100"/>
          <ac:spMkLst>
            <pc:docMk/>
            <pc:sldMk cId="2721334043" sldId="2147375316"/>
            <ac:spMk id="3" creationId="{3B5A4C92-F7F4-477B-B10B-DDD798600D7A}"/>
          </ac:spMkLst>
        </pc:spChg>
        <pc:spChg chg="mod">
          <ac:chgData name="Tino Kühnel" userId="b4ac53a3-162f-4d7e-a628-fb95a7ef6df5" providerId="ADAL" clId="{83840B2F-7618-485B-831D-C56FA9388717}" dt="2023-10-10T16:14:40.374" v="4" actId="14100"/>
          <ac:spMkLst>
            <pc:docMk/>
            <pc:sldMk cId="2721334043" sldId="2147375316"/>
            <ac:spMk id="92" creationId="{AFAE0174-44B2-B167-0798-B8431738A17D}"/>
          </ac:spMkLst>
        </pc:spChg>
      </pc:sldChg>
      <pc:sldChg chg="modSp mod">
        <pc:chgData name="Tino Kühnel" userId="b4ac53a3-162f-4d7e-a628-fb95a7ef6df5" providerId="ADAL" clId="{83840B2F-7618-485B-831D-C56FA9388717}" dt="2023-10-10T16:39:09.870" v="334" actId="14100"/>
        <pc:sldMkLst>
          <pc:docMk/>
          <pc:sldMk cId="3719644468" sldId="2147375318"/>
        </pc:sldMkLst>
        <pc:spChg chg="mod">
          <ac:chgData name="Tino Kühnel" userId="b4ac53a3-162f-4d7e-a628-fb95a7ef6df5" providerId="ADAL" clId="{83840B2F-7618-485B-831D-C56FA9388717}" dt="2023-10-10T16:39:09.870" v="334" actId="14100"/>
          <ac:spMkLst>
            <pc:docMk/>
            <pc:sldMk cId="3719644468" sldId="2147375318"/>
            <ac:spMk id="3" creationId="{DE11DFF5-567E-7401-CB92-1076E5700480}"/>
          </ac:spMkLst>
        </pc:spChg>
      </pc:sldChg>
      <pc:sldChg chg="modSp mod">
        <pc:chgData name="Tino Kühnel" userId="b4ac53a3-162f-4d7e-a628-fb95a7ef6df5" providerId="ADAL" clId="{83840B2F-7618-485B-831D-C56FA9388717}" dt="2023-10-10T16:39:47.126" v="339" actId="14100"/>
        <pc:sldMkLst>
          <pc:docMk/>
          <pc:sldMk cId="1964007187" sldId="2147375319"/>
        </pc:sldMkLst>
        <pc:spChg chg="mod">
          <ac:chgData name="Tino Kühnel" userId="b4ac53a3-162f-4d7e-a628-fb95a7ef6df5" providerId="ADAL" clId="{83840B2F-7618-485B-831D-C56FA9388717}" dt="2023-10-10T16:39:47.126" v="339" actId="14100"/>
          <ac:spMkLst>
            <pc:docMk/>
            <pc:sldMk cId="1964007187" sldId="2147375319"/>
            <ac:spMk id="4" creationId="{1243FF08-0F6D-9294-2D0E-DCA37359CD54}"/>
          </ac:spMkLst>
        </pc:spChg>
      </pc:sldChg>
      <pc:sldChg chg="addSp delSp modSp mod">
        <pc:chgData name="Tino Kühnel" userId="b4ac53a3-162f-4d7e-a628-fb95a7ef6df5" providerId="ADAL" clId="{83840B2F-7618-485B-831D-C56FA9388717}" dt="2023-10-10T16:44:00.522" v="365" actId="478"/>
        <pc:sldMkLst>
          <pc:docMk/>
          <pc:sldMk cId="2922478610" sldId="2147375321"/>
        </pc:sldMkLst>
        <pc:spChg chg="mod">
          <ac:chgData name="Tino Kühnel" userId="b4ac53a3-162f-4d7e-a628-fb95a7ef6df5" providerId="ADAL" clId="{83840B2F-7618-485B-831D-C56FA9388717}" dt="2023-10-10T16:16:35.144" v="13" actId="208"/>
          <ac:spMkLst>
            <pc:docMk/>
            <pc:sldMk cId="2922478610" sldId="2147375321"/>
            <ac:spMk id="3" creationId="{DF3887BE-9D76-92FB-3DC5-0EC68ACF822A}"/>
          </ac:spMkLst>
        </pc:spChg>
        <pc:spChg chg="mod">
          <ac:chgData name="Tino Kühnel" userId="b4ac53a3-162f-4d7e-a628-fb95a7ef6df5" providerId="ADAL" clId="{83840B2F-7618-485B-831D-C56FA9388717}" dt="2023-10-10T16:39:01.230" v="332" actId="14100"/>
          <ac:spMkLst>
            <pc:docMk/>
            <pc:sldMk cId="2922478610" sldId="2147375321"/>
            <ac:spMk id="4" creationId="{F493C888-FA15-59E7-A4A8-D9F5D9E52F3E}"/>
          </ac:spMkLst>
        </pc:spChg>
        <pc:spChg chg="add mod">
          <ac:chgData name="Tino Kühnel" userId="b4ac53a3-162f-4d7e-a628-fb95a7ef6df5" providerId="ADAL" clId="{83840B2F-7618-485B-831D-C56FA9388717}" dt="2023-10-10T16:20:12.602" v="121" actId="1035"/>
          <ac:spMkLst>
            <pc:docMk/>
            <pc:sldMk cId="2922478610" sldId="2147375321"/>
            <ac:spMk id="7" creationId="{4783BFF9-AB6D-E625-4D59-A40CBDD4B80B}"/>
          </ac:spMkLst>
        </pc:spChg>
        <pc:spChg chg="add mod">
          <ac:chgData name="Tino Kühnel" userId="b4ac53a3-162f-4d7e-a628-fb95a7ef6df5" providerId="ADAL" clId="{83840B2F-7618-485B-831D-C56FA9388717}" dt="2023-10-10T16:22:00.016" v="155" actId="2711"/>
          <ac:spMkLst>
            <pc:docMk/>
            <pc:sldMk cId="2922478610" sldId="2147375321"/>
            <ac:spMk id="8" creationId="{EEEE61A2-0F28-2F32-0F36-B450BD883B12}"/>
          </ac:spMkLst>
        </pc:spChg>
        <pc:spChg chg="mod">
          <ac:chgData name="Tino Kühnel" userId="b4ac53a3-162f-4d7e-a628-fb95a7ef6df5" providerId="ADAL" clId="{83840B2F-7618-485B-831D-C56FA9388717}" dt="2023-10-10T16:17:47.372" v="20" actId="208"/>
          <ac:spMkLst>
            <pc:docMk/>
            <pc:sldMk cId="2922478610" sldId="2147375321"/>
            <ac:spMk id="9" creationId="{D1C0760F-61DA-DAD0-709F-6F34E6FF932D}"/>
          </ac:spMkLst>
        </pc:spChg>
        <pc:spChg chg="del mod">
          <ac:chgData name="Tino Kühnel" userId="b4ac53a3-162f-4d7e-a628-fb95a7ef6df5" providerId="ADAL" clId="{83840B2F-7618-485B-831D-C56FA9388717}" dt="2023-10-10T16:22:33.167" v="161" actId="478"/>
          <ac:spMkLst>
            <pc:docMk/>
            <pc:sldMk cId="2922478610" sldId="2147375321"/>
            <ac:spMk id="10" creationId="{088BEB60-0549-94C6-8122-A15BBA6FBE22}"/>
          </ac:spMkLst>
        </pc:spChg>
        <pc:spChg chg="add mod">
          <ac:chgData name="Tino Kühnel" userId="b4ac53a3-162f-4d7e-a628-fb95a7ef6df5" providerId="ADAL" clId="{83840B2F-7618-485B-831D-C56FA9388717}" dt="2023-10-10T16:25:14.908" v="247" actId="2711"/>
          <ac:spMkLst>
            <pc:docMk/>
            <pc:sldMk cId="2922478610" sldId="2147375321"/>
            <ac:spMk id="27" creationId="{44044763-9A4C-9928-B458-7EAE35B56E94}"/>
          </ac:spMkLst>
        </pc:spChg>
        <pc:spChg chg="add mod">
          <ac:chgData name="Tino Kühnel" userId="b4ac53a3-162f-4d7e-a628-fb95a7ef6df5" providerId="ADAL" clId="{83840B2F-7618-485B-831D-C56FA9388717}" dt="2023-10-10T16:25:01.030" v="246" actId="208"/>
          <ac:spMkLst>
            <pc:docMk/>
            <pc:sldMk cId="2922478610" sldId="2147375321"/>
            <ac:spMk id="28" creationId="{529E0AB5-A79B-ADA2-6109-60159F141D94}"/>
          </ac:spMkLst>
        </pc:spChg>
        <pc:spChg chg="mod ord">
          <ac:chgData name="Tino Kühnel" userId="b4ac53a3-162f-4d7e-a628-fb95a7ef6df5" providerId="ADAL" clId="{83840B2F-7618-485B-831D-C56FA9388717}" dt="2023-10-10T16:25:45.879" v="250" actId="166"/>
          <ac:spMkLst>
            <pc:docMk/>
            <pc:sldMk cId="2922478610" sldId="2147375321"/>
            <ac:spMk id="40" creationId="{4D60FF37-B61B-E8A7-61A7-75BFE6A9167A}"/>
          </ac:spMkLst>
        </pc:spChg>
        <pc:spChg chg="mod">
          <ac:chgData name="Tino Kühnel" userId="b4ac53a3-162f-4d7e-a628-fb95a7ef6df5" providerId="ADAL" clId="{83840B2F-7618-485B-831D-C56FA9388717}" dt="2023-10-10T16:26:08.790" v="252" actId="14100"/>
          <ac:spMkLst>
            <pc:docMk/>
            <pc:sldMk cId="2922478610" sldId="2147375321"/>
            <ac:spMk id="77" creationId="{A2C7BE5C-E103-A239-BCD4-A5EF7693E540}"/>
          </ac:spMkLst>
        </pc:spChg>
        <pc:spChg chg="mod">
          <ac:chgData name="Tino Kühnel" userId="b4ac53a3-162f-4d7e-a628-fb95a7ef6df5" providerId="ADAL" clId="{83840B2F-7618-485B-831D-C56FA9388717}" dt="2023-10-10T16:25:35.203" v="248" actId="14100"/>
          <ac:spMkLst>
            <pc:docMk/>
            <pc:sldMk cId="2922478610" sldId="2147375321"/>
            <ac:spMk id="85" creationId="{B7E94208-E072-8B98-53AF-D43CCFC030FF}"/>
          </ac:spMkLst>
        </pc:spChg>
        <pc:graphicFrameChg chg="add del mod">
          <ac:chgData name="Tino Kühnel" userId="b4ac53a3-162f-4d7e-a628-fb95a7ef6df5" providerId="ADAL" clId="{83840B2F-7618-485B-831D-C56FA9388717}" dt="2023-10-10T16:17:24.119" v="16"/>
          <ac:graphicFrameMkLst>
            <pc:docMk/>
            <pc:sldMk cId="2922478610" sldId="2147375321"/>
            <ac:graphicFrameMk id="6" creationId="{1E9EAF2E-D03C-EC1B-D8E1-BC23E004791B}"/>
          </ac:graphicFrameMkLst>
        </pc:graphicFrameChg>
        <pc:graphicFrameChg chg="del mod modGraphic">
          <ac:chgData name="Tino Kühnel" userId="b4ac53a3-162f-4d7e-a628-fb95a7ef6df5" providerId="ADAL" clId="{83840B2F-7618-485B-831D-C56FA9388717}" dt="2023-10-10T16:23:33.942" v="233" actId="478"/>
          <ac:graphicFrameMkLst>
            <pc:docMk/>
            <pc:sldMk cId="2922478610" sldId="2147375321"/>
            <ac:graphicFrameMk id="13" creationId="{E5AC3430-0E6E-9BF4-C4F0-6A0C4C509C92}"/>
          </ac:graphicFrameMkLst>
        </pc:graphicFrameChg>
        <pc:graphicFrameChg chg="del mod modGraphic">
          <ac:chgData name="Tino Kühnel" userId="b4ac53a3-162f-4d7e-a628-fb95a7ef6df5" providerId="ADAL" clId="{83840B2F-7618-485B-831D-C56FA9388717}" dt="2023-10-10T16:18:52.989" v="26" actId="478"/>
          <ac:graphicFrameMkLst>
            <pc:docMk/>
            <pc:sldMk cId="2922478610" sldId="2147375321"/>
            <ac:graphicFrameMk id="69" creationId="{82B72ED8-0404-FDC8-1182-725D88487E38}"/>
          </ac:graphicFrameMkLst>
        </pc:graphicFrameChg>
        <pc:graphicFrameChg chg="del mod modGraphic">
          <ac:chgData name="Tino Kühnel" userId="b4ac53a3-162f-4d7e-a628-fb95a7ef6df5" providerId="ADAL" clId="{83840B2F-7618-485B-831D-C56FA9388717}" dt="2023-10-10T16:18:56.258" v="27" actId="478"/>
          <ac:graphicFrameMkLst>
            <pc:docMk/>
            <pc:sldMk cId="2922478610" sldId="2147375321"/>
            <ac:graphicFrameMk id="70" creationId="{0755E308-BF9A-5DFE-F7D6-FF86DBE37BB2}"/>
          </ac:graphicFrameMkLst>
        </pc:graphicFrameChg>
        <pc:graphicFrameChg chg="del mod modGraphic">
          <ac:chgData name="Tino Kühnel" userId="b4ac53a3-162f-4d7e-a628-fb95a7ef6df5" providerId="ADAL" clId="{83840B2F-7618-485B-831D-C56FA9388717}" dt="2023-10-10T16:24:15.779" v="242" actId="478"/>
          <ac:graphicFrameMkLst>
            <pc:docMk/>
            <pc:sldMk cId="2922478610" sldId="2147375321"/>
            <ac:graphicFrameMk id="71" creationId="{0D53122A-E5F0-8874-A64D-0CB31E799F3E}"/>
          </ac:graphicFrameMkLst>
        </pc:graphicFrameChg>
        <pc:graphicFrameChg chg="del mod">
          <ac:chgData name="Tino Kühnel" userId="b4ac53a3-162f-4d7e-a628-fb95a7ef6df5" providerId="ADAL" clId="{83840B2F-7618-485B-831D-C56FA9388717}" dt="2023-10-10T16:24:15.779" v="242" actId="478"/>
          <ac:graphicFrameMkLst>
            <pc:docMk/>
            <pc:sldMk cId="2922478610" sldId="2147375321"/>
            <ac:graphicFrameMk id="72" creationId="{DEFCBE3E-CE0D-A02B-5C56-A7A5526BED5C}"/>
          </ac:graphicFrameMkLst>
        </pc:graphicFrameChg>
        <pc:picChg chg="add mod">
          <ac:chgData name="Tino Kühnel" userId="b4ac53a3-162f-4d7e-a628-fb95a7ef6df5" providerId="ADAL" clId="{83840B2F-7618-485B-831D-C56FA9388717}" dt="2023-10-10T16:27:30.879" v="258"/>
          <ac:picMkLst>
            <pc:docMk/>
            <pc:sldMk cId="2922478610" sldId="2147375321"/>
            <ac:picMk id="29" creationId="{3E0966F2-9F3D-5349-BA50-D0EFCB1F5F4D}"/>
          </ac:picMkLst>
        </pc:picChg>
        <pc:cxnChg chg="add mod">
          <ac:chgData name="Tino Kühnel" userId="b4ac53a3-162f-4d7e-a628-fb95a7ef6df5" providerId="ADAL" clId="{83840B2F-7618-485B-831D-C56FA9388717}" dt="2023-10-10T16:20:58.956" v="142" actId="14100"/>
          <ac:cxnSpMkLst>
            <pc:docMk/>
            <pc:sldMk cId="2922478610" sldId="2147375321"/>
            <ac:cxnSpMk id="11" creationId="{E67F7360-27A4-94F6-71E5-A2816ACC9A87}"/>
          </ac:cxnSpMkLst>
        </pc:cxnChg>
        <pc:cxnChg chg="add mod">
          <ac:chgData name="Tino Kühnel" userId="b4ac53a3-162f-4d7e-a628-fb95a7ef6df5" providerId="ADAL" clId="{83840B2F-7618-485B-831D-C56FA9388717}" dt="2023-10-10T16:20:54.773" v="141" actId="14100"/>
          <ac:cxnSpMkLst>
            <pc:docMk/>
            <pc:sldMk cId="2922478610" sldId="2147375321"/>
            <ac:cxnSpMk id="17" creationId="{09379BC1-3299-BF87-44CB-EDB74EF2E00C}"/>
          </ac:cxnSpMkLst>
        </pc:cxnChg>
        <pc:cxnChg chg="add del mod">
          <ac:chgData name="Tino Kühnel" userId="b4ac53a3-162f-4d7e-a628-fb95a7ef6df5" providerId="ADAL" clId="{83840B2F-7618-485B-831D-C56FA9388717}" dt="2023-10-10T16:44:00.522" v="365" actId="478"/>
          <ac:cxnSpMkLst>
            <pc:docMk/>
            <pc:sldMk cId="2922478610" sldId="2147375321"/>
            <ac:cxnSpMk id="30" creationId="{07AAB454-3658-AF42-ECEC-B80AD7DEF2FF}"/>
          </ac:cxnSpMkLst>
        </pc:cxnChg>
        <pc:cxnChg chg="mod">
          <ac:chgData name="Tino Kühnel" userId="b4ac53a3-162f-4d7e-a628-fb95a7ef6df5" providerId="ADAL" clId="{83840B2F-7618-485B-831D-C56FA9388717}" dt="2023-10-10T16:21:15.246" v="145" actId="14100"/>
          <ac:cxnSpMkLst>
            <pc:docMk/>
            <pc:sldMk cId="2922478610" sldId="2147375321"/>
            <ac:cxnSpMk id="73" creationId="{FC85BD53-4C49-9DC0-A48A-749CF0B50730}"/>
          </ac:cxnSpMkLst>
        </pc:cxnChg>
        <pc:cxnChg chg="mod">
          <ac:chgData name="Tino Kühnel" userId="b4ac53a3-162f-4d7e-a628-fb95a7ef6df5" providerId="ADAL" clId="{83840B2F-7618-485B-831D-C56FA9388717}" dt="2023-10-10T16:21:25.415" v="152" actId="1038"/>
          <ac:cxnSpMkLst>
            <pc:docMk/>
            <pc:sldMk cId="2922478610" sldId="2147375321"/>
            <ac:cxnSpMk id="74" creationId="{DF1CC8E3-61A1-71BE-F1C8-D58776BD9979}"/>
          </ac:cxnSpMkLst>
        </pc:cxnChg>
        <pc:cxnChg chg="mod">
          <ac:chgData name="Tino Kühnel" userId="b4ac53a3-162f-4d7e-a628-fb95a7ef6df5" providerId="ADAL" clId="{83840B2F-7618-485B-831D-C56FA9388717}" dt="2023-10-10T16:18:23.217" v="22" actId="1582"/>
          <ac:cxnSpMkLst>
            <pc:docMk/>
            <pc:sldMk cId="2922478610" sldId="2147375321"/>
            <ac:cxnSpMk id="79" creationId="{2CBF2AAC-739E-A152-939F-E356F40299D8}"/>
          </ac:cxnSpMkLst>
        </pc:cxnChg>
        <pc:cxnChg chg="mod">
          <ac:chgData name="Tino Kühnel" userId="b4ac53a3-162f-4d7e-a628-fb95a7ef6df5" providerId="ADAL" clId="{83840B2F-7618-485B-831D-C56FA9388717}" dt="2023-10-10T16:18:23.217" v="22" actId="1582"/>
          <ac:cxnSpMkLst>
            <pc:docMk/>
            <pc:sldMk cId="2922478610" sldId="2147375321"/>
            <ac:cxnSpMk id="80" creationId="{76D59CBB-DED8-4F47-7A2E-693B8A1FD427}"/>
          </ac:cxnSpMkLst>
        </pc:cxnChg>
        <pc:cxnChg chg="mod">
          <ac:chgData name="Tino Kühnel" userId="b4ac53a3-162f-4d7e-a628-fb95a7ef6df5" providerId="ADAL" clId="{83840B2F-7618-485B-831D-C56FA9388717}" dt="2023-10-10T16:18:23.217" v="22" actId="1582"/>
          <ac:cxnSpMkLst>
            <pc:docMk/>
            <pc:sldMk cId="2922478610" sldId="2147375321"/>
            <ac:cxnSpMk id="82" creationId="{02CD1DAA-429C-A93D-C439-DD9582A0B640}"/>
          </ac:cxnSpMkLst>
        </pc:cxnChg>
      </pc:sldChg>
      <pc:sldChg chg="modSp mod">
        <pc:chgData name="Tino Kühnel" userId="b4ac53a3-162f-4d7e-a628-fb95a7ef6df5" providerId="ADAL" clId="{83840B2F-7618-485B-831D-C56FA9388717}" dt="2023-10-10T16:39:56.343" v="341" actId="14100"/>
        <pc:sldMkLst>
          <pc:docMk/>
          <pc:sldMk cId="3272669451" sldId="2147375322"/>
        </pc:sldMkLst>
        <pc:spChg chg="mod">
          <ac:chgData name="Tino Kühnel" userId="b4ac53a3-162f-4d7e-a628-fb95a7ef6df5" providerId="ADAL" clId="{83840B2F-7618-485B-831D-C56FA9388717}" dt="2023-10-10T16:39:56.343" v="341" actId="14100"/>
          <ac:spMkLst>
            <pc:docMk/>
            <pc:sldMk cId="3272669451" sldId="2147375322"/>
            <ac:spMk id="2" creationId="{091FB78C-404D-F3A5-C2BE-BDEA2D4BB110}"/>
          </ac:spMkLst>
        </pc:spChg>
      </pc:sldChg>
      <pc:sldChg chg="modSp mod">
        <pc:chgData name="Tino Kühnel" userId="b4ac53a3-162f-4d7e-a628-fb95a7ef6df5" providerId="ADAL" clId="{83840B2F-7618-485B-831D-C56FA9388717}" dt="2023-10-10T16:41:44.707" v="350" actId="255"/>
        <pc:sldMkLst>
          <pc:docMk/>
          <pc:sldMk cId="4039200423" sldId="2147375324"/>
        </pc:sldMkLst>
        <pc:spChg chg="mod">
          <ac:chgData name="Tino Kühnel" userId="b4ac53a3-162f-4d7e-a628-fb95a7ef6df5" providerId="ADAL" clId="{83840B2F-7618-485B-831D-C56FA9388717}" dt="2023-10-10T16:41:37.979" v="349" actId="255"/>
          <ac:spMkLst>
            <pc:docMk/>
            <pc:sldMk cId="4039200423" sldId="2147375324"/>
            <ac:spMk id="3" creationId="{76A4FF29-B901-F9CC-84B7-D53945CC6068}"/>
          </ac:spMkLst>
        </pc:spChg>
        <pc:spChg chg="mod">
          <ac:chgData name="Tino Kühnel" userId="b4ac53a3-162f-4d7e-a628-fb95a7ef6df5" providerId="ADAL" clId="{83840B2F-7618-485B-831D-C56FA9388717}" dt="2023-10-10T16:41:44.707" v="350" actId="255"/>
          <ac:spMkLst>
            <pc:docMk/>
            <pc:sldMk cId="4039200423" sldId="2147375324"/>
            <ac:spMk id="4" creationId="{2EB2C9C3-5A4E-35EC-7FF6-68ED5F95D7CB}"/>
          </ac:spMkLst>
        </pc:spChg>
        <pc:spChg chg="mod">
          <ac:chgData name="Tino Kühnel" userId="b4ac53a3-162f-4d7e-a628-fb95a7ef6df5" providerId="ADAL" clId="{83840B2F-7618-485B-831D-C56FA9388717}" dt="2023-10-10T16:37:56.443" v="320" actId="14100"/>
          <ac:spMkLst>
            <pc:docMk/>
            <pc:sldMk cId="4039200423" sldId="2147375324"/>
            <ac:spMk id="5" creationId="{750CA129-29A3-0CB6-A67F-A75C7AE2E008}"/>
          </ac:spMkLst>
        </pc:spChg>
      </pc:sldChg>
      <pc:sldChg chg="modSp mod">
        <pc:chgData name="Tino Kühnel" userId="b4ac53a3-162f-4d7e-a628-fb95a7ef6df5" providerId="ADAL" clId="{83840B2F-7618-485B-831D-C56FA9388717}" dt="2023-10-10T16:38:16.468" v="323" actId="14100"/>
        <pc:sldMkLst>
          <pc:docMk/>
          <pc:sldMk cId="1557135621" sldId="2147375326"/>
        </pc:sldMkLst>
        <pc:spChg chg="mod">
          <ac:chgData name="Tino Kühnel" userId="b4ac53a3-162f-4d7e-a628-fb95a7ef6df5" providerId="ADAL" clId="{83840B2F-7618-485B-831D-C56FA9388717}" dt="2023-10-10T16:38:16.468" v="323" actId="14100"/>
          <ac:spMkLst>
            <pc:docMk/>
            <pc:sldMk cId="1557135621" sldId="2147375326"/>
            <ac:spMk id="3" creationId="{76A4FF29-B901-F9CC-84B7-D53945CC6068}"/>
          </ac:spMkLst>
        </pc:spChg>
        <pc:spChg chg="mod">
          <ac:chgData name="Tino Kühnel" userId="b4ac53a3-162f-4d7e-a628-fb95a7ef6df5" providerId="ADAL" clId="{83840B2F-7618-485B-831D-C56FA9388717}" dt="2023-10-10T16:38:07.176" v="321" actId="14100"/>
          <ac:spMkLst>
            <pc:docMk/>
            <pc:sldMk cId="1557135621" sldId="2147375326"/>
            <ac:spMk id="5" creationId="{750CA129-29A3-0CB6-A67F-A75C7AE2E008}"/>
          </ac:spMkLst>
        </pc:spChg>
        <pc:spChg chg="mod">
          <ac:chgData name="Tino Kühnel" userId="b4ac53a3-162f-4d7e-a628-fb95a7ef6df5" providerId="ADAL" clId="{83840B2F-7618-485B-831D-C56FA9388717}" dt="2023-10-10T16:28:36.736" v="266" actId="20577"/>
          <ac:spMkLst>
            <pc:docMk/>
            <pc:sldMk cId="1557135621" sldId="2147375326"/>
            <ac:spMk id="6" creationId="{9F20ACBD-9367-A421-637E-3283AAA2E530}"/>
          </ac:spMkLst>
        </pc:spChg>
      </pc:sldChg>
      <pc:sldChg chg="addSp modSp mod">
        <pc:chgData name="Tino Kühnel" userId="b4ac53a3-162f-4d7e-a628-fb95a7ef6df5" providerId="ADAL" clId="{83840B2F-7618-485B-831D-C56FA9388717}" dt="2023-10-13T14:40:24.488" v="416" actId="1076"/>
        <pc:sldMkLst>
          <pc:docMk/>
          <pc:sldMk cId="4015643244" sldId="2147375327"/>
        </pc:sldMkLst>
        <pc:spChg chg="mod">
          <ac:chgData name="Tino Kühnel" userId="b4ac53a3-162f-4d7e-a628-fb95a7ef6df5" providerId="ADAL" clId="{83840B2F-7618-485B-831D-C56FA9388717}" dt="2023-10-10T16:38:32.648" v="326" actId="14100"/>
          <ac:spMkLst>
            <pc:docMk/>
            <pc:sldMk cId="4015643244" sldId="2147375327"/>
            <ac:spMk id="3" creationId="{76A4FF29-B901-F9CC-84B7-D53945CC6068}"/>
          </ac:spMkLst>
        </pc:spChg>
        <pc:spChg chg="mod">
          <ac:chgData name="Tino Kühnel" userId="b4ac53a3-162f-4d7e-a628-fb95a7ef6df5" providerId="ADAL" clId="{83840B2F-7618-485B-831D-C56FA9388717}" dt="2023-10-13T14:40:24.488" v="416" actId="1076"/>
          <ac:spMkLst>
            <pc:docMk/>
            <pc:sldMk cId="4015643244" sldId="2147375327"/>
            <ac:spMk id="5" creationId="{750CA129-29A3-0CB6-A67F-A75C7AE2E008}"/>
          </ac:spMkLst>
        </pc:spChg>
        <pc:spChg chg="mod">
          <ac:chgData name="Tino Kühnel" userId="b4ac53a3-162f-4d7e-a628-fb95a7ef6df5" providerId="ADAL" clId="{83840B2F-7618-485B-831D-C56FA9388717}" dt="2023-10-10T16:37:03.641" v="315" actId="1076"/>
          <ac:spMkLst>
            <pc:docMk/>
            <pc:sldMk cId="4015643244" sldId="2147375327"/>
            <ac:spMk id="6" creationId="{9F20ACBD-9367-A421-637E-3283AAA2E530}"/>
          </ac:spMkLst>
        </pc:spChg>
        <pc:picChg chg="add mod">
          <ac:chgData name="Tino Kühnel" userId="b4ac53a3-162f-4d7e-a628-fb95a7ef6df5" providerId="ADAL" clId="{83840B2F-7618-485B-831D-C56FA9388717}" dt="2023-10-10T16:36:42.135" v="313"/>
          <ac:picMkLst>
            <pc:docMk/>
            <pc:sldMk cId="4015643244" sldId="2147375327"/>
            <ac:picMk id="7" creationId="{BE1F3614-5777-FF4E-0EE4-902D87E850A9}"/>
          </ac:picMkLst>
        </pc:picChg>
      </pc:sldChg>
      <pc:sldChg chg="addSp modSp mod">
        <pc:chgData name="Tino Kühnel" userId="b4ac53a3-162f-4d7e-a628-fb95a7ef6df5" providerId="ADAL" clId="{83840B2F-7618-485B-831D-C56FA9388717}" dt="2023-10-10T16:35:41.250" v="310"/>
        <pc:sldMkLst>
          <pc:docMk/>
          <pc:sldMk cId="2279372925" sldId="2147375328"/>
        </pc:sldMkLst>
        <pc:spChg chg="mod">
          <ac:chgData name="Tino Kühnel" userId="b4ac53a3-162f-4d7e-a628-fb95a7ef6df5" providerId="ADAL" clId="{83840B2F-7618-485B-831D-C56FA9388717}" dt="2023-10-10T16:12:04.887" v="0" actId="14100"/>
          <ac:spMkLst>
            <pc:docMk/>
            <pc:sldMk cId="2279372925" sldId="2147375328"/>
            <ac:spMk id="2" creationId="{04EF4195-03CD-76D2-923F-1750B6A16DAB}"/>
          </ac:spMkLst>
        </pc:spChg>
        <pc:cxnChg chg="add mod">
          <ac:chgData name="Tino Kühnel" userId="b4ac53a3-162f-4d7e-a628-fb95a7ef6df5" providerId="ADAL" clId="{83840B2F-7618-485B-831D-C56FA9388717}" dt="2023-10-10T16:35:41.250" v="310"/>
          <ac:cxnSpMkLst>
            <pc:docMk/>
            <pc:sldMk cId="2279372925" sldId="2147375328"/>
            <ac:cxnSpMk id="5" creationId="{FB07A62A-7873-C36F-66B0-2F8A84E927E4}"/>
          </ac:cxnSpMkLst>
        </pc:cxnChg>
      </pc:sldChg>
      <pc:sldChg chg="modSp mod">
        <pc:chgData name="Tino Kühnel" userId="b4ac53a3-162f-4d7e-a628-fb95a7ef6df5" providerId="ADAL" clId="{83840B2F-7618-485B-831D-C56FA9388717}" dt="2023-10-10T16:38:42.936" v="328" actId="14100"/>
        <pc:sldMkLst>
          <pc:docMk/>
          <pc:sldMk cId="2105694519" sldId="2147375329"/>
        </pc:sldMkLst>
        <pc:spChg chg="mod">
          <ac:chgData name="Tino Kühnel" userId="b4ac53a3-162f-4d7e-a628-fb95a7ef6df5" providerId="ADAL" clId="{83840B2F-7618-485B-831D-C56FA9388717}" dt="2023-10-10T16:29:07.792" v="268" actId="20577"/>
          <ac:spMkLst>
            <pc:docMk/>
            <pc:sldMk cId="2105694519" sldId="2147375329"/>
            <ac:spMk id="2" creationId="{7C5556C4-4DA5-1E39-605B-FCDB00D43083}"/>
          </ac:spMkLst>
        </pc:spChg>
        <pc:spChg chg="mod">
          <ac:chgData name="Tino Kühnel" userId="b4ac53a3-162f-4d7e-a628-fb95a7ef6df5" providerId="ADAL" clId="{83840B2F-7618-485B-831D-C56FA9388717}" dt="2023-10-10T16:14:27.231" v="3" actId="14100"/>
          <ac:spMkLst>
            <pc:docMk/>
            <pc:sldMk cId="2105694519" sldId="2147375329"/>
            <ac:spMk id="3" creationId="{D49AA204-A7F4-1B03-05A6-F88365DF906A}"/>
          </ac:spMkLst>
        </pc:spChg>
        <pc:spChg chg="mod">
          <ac:chgData name="Tino Kühnel" userId="b4ac53a3-162f-4d7e-a628-fb95a7ef6df5" providerId="ADAL" clId="{83840B2F-7618-485B-831D-C56FA9388717}" dt="2023-10-10T16:38:42.936" v="328" actId="14100"/>
          <ac:spMkLst>
            <pc:docMk/>
            <pc:sldMk cId="2105694519" sldId="2147375329"/>
            <ac:spMk id="4" creationId="{867FCE58-60AF-8E3D-605F-D30D544DBBA9}"/>
          </ac:spMkLst>
        </pc:spChg>
      </pc:sldChg>
      <pc:sldChg chg="addSp delSp modSp mod">
        <pc:chgData name="Tino Kühnel" userId="b4ac53a3-162f-4d7e-a628-fb95a7ef6df5" providerId="ADAL" clId="{83840B2F-7618-485B-831D-C56FA9388717}" dt="2023-10-10T16:43:15.075" v="362" actId="21"/>
        <pc:sldMkLst>
          <pc:docMk/>
          <pc:sldMk cId="726628516" sldId="2147375330"/>
        </pc:sldMkLst>
        <pc:spChg chg="mod">
          <ac:chgData name="Tino Kühnel" userId="b4ac53a3-162f-4d7e-a628-fb95a7ef6df5" providerId="ADAL" clId="{83840B2F-7618-485B-831D-C56FA9388717}" dt="2023-10-10T16:38:51.347" v="330" actId="14100"/>
          <ac:spMkLst>
            <pc:docMk/>
            <pc:sldMk cId="726628516" sldId="2147375330"/>
            <ac:spMk id="4" creationId="{F1508577-CEF6-C90F-F876-EFA10FB615A2}"/>
          </ac:spMkLst>
        </pc:spChg>
        <pc:grpChg chg="add del">
          <ac:chgData name="Tino Kühnel" userId="b4ac53a3-162f-4d7e-a628-fb95a7ef6df5" providerId="ADAL" clId="{83840B2F-7618-485B-831D-C56FA9388717}" dt="2023-10-10T16:43:15.075" v="362" actId="21"/>
          <ac:grpSpMkLst>
            <pc:docMk/>
            <pc:sldMk cId="726628516" sldId="2147375330"/>
            <ac:grpSpMk id="7" creationId="{D7E531BB-3797-B9D0-775F-863EFCB83EE9}"/>
          </ac:grpSpMkLst>
        </pc:grpChg>
      </pc:sldChg>
      <pc:sldChg chg="modSp mod">
        <pc:chgData name="Tino Kühnel" userId="b4ac53a3-162f-4d7e-a628-fb95a7ef6df5" providerId="ADAL" clId="{83840B2F-7618-485B-831D-C56FA9388717}" dt="2023-10-10T16:14:14.051" v="2" actId="14100"/>
        <pc:sldMkLst>
          <pc:docMk/>
          <pc:sldMk cId="96237854" sldId="2147375372"/>
        </pc:sldMkLst>
        <pc:spChg chg="mod">
          <ac:chgData name="Tino Kühnel" userId="b4ac53a3-162f-4d7e-a628-fb95a7ef6df5" providerId="ADAL" clId="{83840B2F-7618-485B-831D-C56FA9388717}" dt="2023-10-10T16:14:14.051" v="2" actId="14100"/>
          <ac:spMkLst>
            <pc:docMk/>
            <pc:sldMk cId="96237854" sldId="2147375372"/>
            <ac:spMk id="3" creationId="{78C7885E-78E6-2A43-2393-ADA790A8D6A4}"/>
          </ac:spMkLst>
        </pc:spChg>
      </pc:sldChg>
      <pc:sldChg chg="addSp modSp mod">
        <pc:chgData name="Tino Kühnel" userId="b4ac53a3-162f-4d7e-a628-fb95a7ef6df5" providerId="ADAL" clId="{83840B2F-7618-485B-831D-C56FA9388717}" dt="2023-10-10T16:46:07.610" v="405" actId="20577"/>
        <pc:sldMkLst>
          <pc:docMk/>
          <pc:sldMk cId="2899031232" sldId="2147375374"/>
        </pc:sldMkLst>
        <pc:spChg chg="mod">
          <ac:chgData name="Tino Kühnel" userId="b4ac53a3-162f-4d7e-a628-fb95a7ef6df5" providerId="ADAL" clId="{83840B2F-7618-485B-831D-C56FA9388717}" dt="2023-10-10T16:26:30.892" v="255" actId="14100"/>
          <ac:spMkLst>
            <pc:docMk/>
            <pc:sldMk cId="2899031232" sldId="2147375374"/>
            <ac:spMk id="3" creationId="{B1CAD69C-4E64-5FBF-90F2-B2966A5F2D06}"/>
          </ac:spMkLst>
        </pc:spChg>
        <pc:spChg chg="mod">
          <ac:chgData name="Tino Kühnel" userId="b4ac53a3-162f-4d7e-a628-fb95a7ef6df5" providerId="ADAL" clId="{83840B2F-7618-485B-831D-C56FA9388717}" dt="2023-10-10T16:39:34.833" v="337" actId="14100"/>
          <ac:spMkLst>
            <pc:docMk/>
            <pc:sldMk cId="2899031232" sldId="2147375374"/>
            <ac:spMk id="4" creationId="{E14B5F0A-079B-7C41-6602-698D2FE1291D}"/>
          </ac:spMkLst>
        </pc:spChg>
        <pc:spChg chg="mod">
          <ac:chgData name="Tino Kühnel" userId="b4ac53a3-162f-4d7e-a628-fb95a7ef6df5" providerId="ADAL" clId="{83840B2F-7618-485B-831D-C56FA9388717}" dt="2023-10-10T16:46:07.610" v="405" actId="20577"/>
          <ac:spMkLst>
            <pc:docMk/>
            <pc:sldMk cId="2899031232" sldId="2147375374"/>
            <ac:spMk id="7" creationId="{F2CA45AE-1AC5-BF75-EA05-595E50FF532D}"/>
          </ac:spMkLst>
        </pc:spChg>
        <pc:cxnChg chg="add mod">
          <ac:chgData name="Tino Kühnel" userId="b4ac53a3-162f-4d7e-a628-fb95a7ef6df5" providerId="ADAL" clId="{83840B2F-7618-485B-831D-C56FA9388717}" dt="2023-10-10T16:35:16.114" v="307"/>
          <ac:cxnSpMkLst>
            <pc:docMk/>
            <pc:sldMk cId="2899031232" sldId="2147375374"/>
            <ac:cxnSpMk id="8" creationId="{3E929944-2E8F-7CE6-6C57-B82782DE2BA3}"/>
          </ac:cxnSpMkLst>
        </pc:cxnChg>
      </pc:sldChg>
      <pc:sldChg chg="add del setBg">
        <pc:chgData name="Tino Kühnel" userId="b4ac53a3-162f-4d7e-a628-fb95a7ef6df5" providerId="ADAL" clId="{83840B2F-7618-485B-831D-C56FA9388717}" dt="2023-10-10T16:34:54.721" v="304"/>
        <pc:sldMkLst>
          <pc:docMk/>
          <pc:sldMk cId="7669588" sldId="2147375375"/>
        </pc:sldMkLst>
      </pc:sldChg>
      <pc:sldChg chg="addSp delSp modSp add del mod ord">
        <pc:chgData name="Tino Kühnel" userId="b4ac53a3-162f-4d7e-a628-fb95a7ef6df5" providerId="ADAL" clId="{83840B2F-7618-485B-831D-C56FA9388717}" dt="2023-10-10T16:33:43.136" v="297" actId="47"/>
        <pc:sldMkLst>
          <pc:docMk/>
          <pc:sldMk cId="1520548395" sldId="2147375375"/>
        </pc:sldMkLst>
        <pc:spChg chg="mod">
          <ac:chgData name="Tino Kühnel" userId="b4ac53a3-162f-4d7e-a628-fb95a7ef6df5" providerId="ADAL" clId="{83840B2F-7618-485B-831D-C56FA9388717}" dt="2023-10-10T16:30:11.945" v="277" actId="2711"/>
          <ac:spMkLst>
            <pc:docMk/>
            <pc:sldMk cId="1520548395" sldId="2147375375"/>
            <ac:spMk id="2" creationId="{B8895812-385B-838B-F4AE-22AD6E9878B8}"/>
          </ac:spMkLst>
        </pc:spChg>
        <pc:spChg chg="del">
          <ac:chgData name="Tino Kühnel" userId="b4ac53a3-162f-4d7e-a628-fb95a7ef6df5" providerId="ADAL" clId="{83840B2F-7618-485B-831D-C56FA9388717}" dt="2023-10-10T16:30:35.952" v="279" actId="478"/>
          <ac:spMkLst>
            <pc:docMk/>
            <pc:sldMk cId="1520548395" sldId="2147375375"/>
            <ac:spMk id="6" creationId="{9F20ACBD-9367-A421-637E-3283AAA2E530}"/>
          </ac:spMkLst>
        </pc:spChg>
        <pc:spChg chg="add mod">
          <ac:chgData name="Tino Kühnel" userId="b4ac53a3-162f-4d7e-a628-fb95a7ef6df5" providerId="ADAL" clId="{83840B2F-7618-485B-831D-C56FA9388717}" dt="2023-10-10T16:33:01.702" v="296" actId="14100"/>
          <ac:spMkLst>
            <pc:docMk/>
            <pc:sldMk cId="1520548395" sldId="2147375375"/>
            <ac:spMk id="7" creationId="{3FA1FB5C-61BA-0E18-A230-E400A480F214}"/>
          </ac:spMkLst>
        </pc:spChg>
        <pc:spChg chg="add del mod">
          <ac:chgData name="Tino Kühnel" userId="b4ac53a3-162f-4d7e-a628-fb95a7ef6df5" providerId="ADAL" clId="{83840B2F-7618-485B-831D-C56FA9388717}" dt="2023-10-10T16:31:56.668" v="290" actId="478"/>
          <ac:spMkLst>
            <pc:docMk/>
            <pc:sldMk cId="1520548395" sldId="2147375375"/>
            <ac:spMk id="8" creationId="{929DB87F-4CF1-EF29-842F-029AFBAB9227}"/>
          </ac:spMkLst>
        </pc:spChg>
      </pc:sldChg>
      <pc:sldChg chg="addSp delSp modSp add mod">
        <pc:chgData name="Tino Kühnel" userId="b4ac53a3-162f-4d7e-a628-fb95a7ef6df5" providerId="ADAL" clId="{83840B2F-7618-485B-831D-C56FA9388717}" dt="2023-10-10T16:40:59.247" v="348"/>
        <pc:sldMkLst>
          <pc:docMk/>
          <pc:sldMk cId="2874274560" sldId="2147375375"/>
        </pc:sldMkLst>
        <pc:picChg chg="del">
          <ac:chgData name="Tino Kühnel" userId="b4ac53a3-162f-4d7e-a628-fb95a7ef6df5" providerId="ADAL" clId="{83840B2F-7618-485B-831D-C56FA9388717}" dt="2023-10-10T16:40:58.917" v="347" actId="478"/>
          <ac:picMkLst>
            <pc:docMk/>
            <pc:sldMk cId="2874274560" sldId="2147375375"/>
            <ac:picMk id="2" creationId="{12010D6B-8369-1F73-6EBE-D65747089EE8}"/>
          </ac:picMkLst>
        </pc:picChg>
        <pc:picChg chg="add mod">
          <ac:chgData name="Tino Kühnel" userId="b4ac53a3-162f-4d7e-a628-fb95a7ef6df5" providerId="ADAL" clId="{83840B2F-7618-485B-831D-C56FA9388717}" dt="2023-10-10T16:40:59.247" v="348"/>
          <ac:picMkLst>
            <pc:docMk/>
            <pc:sldMk cId="2874274560" sldId="2147375375"/>
            <ac:picMk id="3" creationId="{A7D0F564-57A4-F117-5B7C-31F3F8C220AC}"/>
          </ac:picMkLst>
        </pc:picChg>
      </pc:sldChg>
      <pc:sldChg chg="addSp delSp modSp add mod">
        <pc:chgData name="Tino Kühnel" userId="b4ac53a3-162f-4d7e-a628-fb95a7ef6df5" providerId="ADAL" clId="{83840B2F-7618-485B-831D-C56FA9388717}" dt="2023-10-13T14:38:46.322" v="415" actId="1076"/>
        <pc:sldMkLst>
          <pc:docMk/>
          <pc:sldMk cId="547071293" sldId="2147375376"/>
        </pc:sldMkLst>
        <pc:spChg chg="add mod">
          <ac:chgData name="Tino Kühnel" userId="b4ac53a3-162f-4d7e-a628-fb95a7ef6df5" providerId="ADAL" clId="{83840B2F-7618-485B-831D-C56FA9388717}" dt="2023-10-13T14:37:31.837" v="410" actId="20577"/>
          <ac:spMkLst>
            <pc:docMk/>
            <pc:sldMk cId="547071293" sldId="2147375376"/>
            <ac:spMk id="5" creationId="{22CE757A-7D36-F7D8-2570-592356E68D01}"/>
          </ac:spMkLst>
        </pc:spChg>
        <pc:spChg chg="del">
          <ac:chgData name="Tino Kühnel" userId="b4ac53a3-162f-4d7e-a628-fb95a7ef6df5" providerId="ADAL" clId="{83840B2F-7618-485B-831D-C56FA9388717}" dt="2023-10-13T14:38:34.455" v="414" actId="478"/>
          <ac:spMkLst>
            <pc:docMk/>
            <pc:sldMk cId="547071293" sldId="2147375376"/>
            <ac:spMk id="6" creationId="{63835439-5E5B-A4ED-78BB-D427A03C9B74}"/>
          </ac:spMkLst>
        </pc:spChg>
        <pc:spChg chg="mod">
          <ac:chgData name="Tino Kühnel" userId="b4ac53a3-162f-4d7e-a628-fb95a7ef6df5" providerId="ADAL" clId="{83840B2F-7618-485B-831D-C56FA9388717}" dt="2023-10-13T14:38:46.322" v="415" actId="1076"/>
          <ac:spMkLst>
            <pc:docMk/>
            <pc:sldMk cId="547071293" sldId="2147375376"/>
            <ac:spMk id="8" creationId="{827D83C8-3CC5-A074-2BBF-8A62A847AD85}"/>
          </ac:spMkLst>
        </pc:spChg>
        <pc:spChg chg="mod">
          <ac:chgData name="Tino Kühnel" userId="b4ac53a3-162f-4d7e-a628-fb95a7ef6df5" providerId="ADAL" clId="{83840B2F-7618-485B-831D-C56FA9388717}" dt="2023-10-13T14:38:46.322" v="415" actId="1076"/>
          <ac:spMkLst>
            <pc:docMk/>
            <pc:sldMk cId="547071293" sldId="2147375376"/>
            <ac:spMk id="9" creationId="{B1ABAA8A-3B6C-1B31-B0F4-99640A967719}"/>
          </ac:spMkLst>
        </pc:spChg>
        <pc:spChg chg="add del mod">
          <ac:chgData name="Tino Kühnel" userId="b4ac53a3-162f-4d7e-a628-fb95a7ef6df5" providerId="ADAL" clId="{83840B2F-7618-485B-831D-C56FA9388717}" dt="2023-10-13T14:37:37.913" v="412" actId="478"/>
          <ac:spMkLst>
            <pc:docMk/>
            <pc:sldMk cId="547071293" sldId="2147375376"/>
            <ac:spMk id="14" creationId="{FC9BF33B-CE3A-C694-5EE6-8D6525A32D5F}"/>
          </ac:spMkLst>
        </pc:spChg>
        <pc:spChg chg="del">
          <ac:chgData name="Tino Kühnel" userId="b4ac53a3-162f-4d7e-a628-fb95a7ef6df5" providerId="ADAL" clId="{83840B2F-7618-485B-831D-C56FA9388717}" dt="2023-10-13T14:37:35.063" v="411" actId="478"/>
          <ac:spMkLst>
            <pc:docMk/>
            <pc:sldMk cId="547071293" sldId="2147375376"/>
            <ac:spMk id="15" creationId="{343E965C-B2D4-FE52-2E1E-F26480F0F706}"/>
          </ac:spMkLst>
        </pc:spChg>
        <pc:spChg chg="del">
          <ac:chgData name="Tino Kühnel" userId="b4ac53a3-162f-4d7e-a628-fb95a7ef6df5" providerId="ADAL" clId="{83840B2F-7618-485B-831D-C56FA9388717}" dt="2023-10-13T14:37:35.063" v="411" actId="478"/>
          <ac:spMkLst>
            <pc:docMk/>
            <pc:sldMk cId="547071293" sldId="2147375376"/>
            <ac:spMk id="16" creationId="{6EFBAC91-8F7D-AFBB-68F4-D9AD47F6972D}"/>
          </ac:spMkLst>
        </pc:spChg>
        <pc:grpChg chg="mod">
          <ac:chgData name="Tino Kühnel" userId="b4ac53a3-162f-4d7e-a628-fb95a7ef6df5" providerId="ADAL" clId="{83840B2F-7618-485B-831D-C56FA9388717}" dt="2023-10-13T14:38:46.322" v="415" actId="1076"/>
          <ac:grpSpMkLst>
            <pc:docMk/>
            <pc:sldMk cId="547071293" sldId="2147375376"/>
            <ac:grpSpMk id="7" creationId="{D7E531BB-3797-B9D0-775F-863EFCB83EE9}"/>
          </ac:grpSpMkLst>
        </pc:grpChg>
        <pc:grpChg chg="mod">
          <ac:chgData name="Tino Kühnel" userId="b4ac53a3-162f-4d7e-a628-fb95a7ef6df5" providerId="ADAL" clId="{83840B2F-7618-485B-831D-C56FA9388717}" dt="2023-10-13T14:38:46.322" v="415" actId="1076"/>
          <ac:grpSpMkLst>
            <pc:docMk/>
            <pc:sldMk cId="547071293" sldId="2147375376"/>
            <ac:grpSpMk id="10" creationId="{382FB7A9-BB1A-33F9-3F6B-AF64A74883AF}"/>
          </ac:grpSpMkLst>
        </pc:grpChg>
        <pc:picChg chg="mod">
          <ac:chgData name="Tino Kühnel" userId="b4ac53a3-162f-4d7e-a628-fb95a7ef6df5" providerId="ADAL" clId="{83840B2F-7618-485B-831D-C56FA9388717}" dt="2023-10-13T14:38:46.322" v="415" actId="1076"/>
          <ac:picMkLst>
            <pc:docMk/>
            <pc:sldMk cId="547071293" sldId="2147375376"/>
            <ac:picMk id="11" creationId="{33DFE434-A0D2-6D06-CA2F-C1DC6762A56E}"/>
          </ac:picMkLst>
        </pc:picChg>
        <pc:picChg chg="mod">
          <ac:chgData name="Tino Kühnel" userId="b4ac53a3-162f-4d7e-a628-fb95a7ef6df5" providerId="ADAL" clId="{83840B2F-7618-485B-831D-C56FA9388717}" dt="2023-10-13T14:38:46.322" v="415" actId="1076"/>
          <ac:picMkLst>
            <pc:docMk/>
            <pc:sldMk cId="547071293" sldId="2147375376"/>
            <ac:picMk id="12" creationId="{A199EE78-74F8-EA1A-1E5C-15CC3905A135}"/>
          </ac:picMkLst>
        </pc:picChg>
      </pc:sldChg>
      <pc:sldChg chg="addSp delSp modSp add mod ord">
        <pc:chgData name="Tino Kühnel" userId="b4ac53a3-162f-4d7e-a628-fb95a7ef6df5" providerId="ADAL" clId="{83840B2F-7618-485B-831D-C56FA9388717}" dt="2023-10-10T16:43:42.593" v="364" actId="1076"/>
        <pc:sldMkLst>
          <pc:docMk/>
          <pc:sldMk cId="2956064268" sldId="2147375377"/>
        </pc:sldMkLst>
        <pc:spChg chg="mod">
          <ac:chgData name="Tino Kühnel" userId="b4ac53a3-162f-4d7e-a628-fb95a7ef6df5" providerId="ADAL" clId="{83840B2F-7618-485B-831D-C56FA9388717}" dt="2023-10-10T16:43:01.165" v="359" actId="108"/>
          <ac:spMkLst>
            <pc:docMk/>
            <pc:sldMk cId="2956064268" sldId="2147375377"/>
            <ac:spMk id="2" creationId="{B8895812-385B-838B-F4AE-22AD6E9878B8}"/>
          </ac:spMkLst>
        </pc:spChg>
        <pc:spChg chg="del">
          <ac:chgData name="Tino Kühnel" userId="b4ac53a3-162f-4d7e-a628-fb95a7ef6df5" providerId="ADAL" clId="{83840B2F-7618-485B-831D-C56FA9388717}" dt="2023-10-10T16:43:06.587" v="360" actId="478"/>
          <ac:spMkLst>
            <pc:docMk/>
            <pc:sldMk cId="2956064268" sldId="2147375377"/>
            <ac:spMk id="6" creationId="{9F20ACBD-9367-A421-637E-3283AAA2E530}"/>
          </ac:spMkLst>
        </pc:spChg>
        <pc:spChg chg="mod">
          <ac:chgData name="Tino Kühnel" userId="b4ac53a3-162f-4d7e-a628-fb95a7ef6df5" providerId="ADAL" clId="{83840B2F-7618-485B-831D-C56FA9388717}" dt="2023-10-10T16:43:42.593" v="364" actId="1076"/>
          <ac:spMkLst>
            <pc:docMk/>
            <pc:sldMk cId="2956064268" sldId="2147375377"/>
            <ac:spMk id="8" creationId="{B65946D5-D66B-3886-3932-DF8B2945FD85}"/>
          </ac:spMkLst>
        </pc:spChg>
        <pc:spChg chg="mod">
          <ac:chgData name="Tino Kühnel" userId="b4ac53a3-162f-4d7e-a628-fb95a7ef6df5" providerId="ADAL" clId="{83840B2F-7618-485B-831D-C56FA9388717}" dt="2023-10-10T16:43:42.593" v="364" actId="1076"/>
          <ac:spMkLst>
            <pc:docMk/>
            <pc:sldMk cId="2956064268" sldId="2147375377"/>
            <ac:spMk id="9" creationId="{E8ADC6BA-F01D-1F47-557B-2BDA3F0FBECC}"/>
          </ac:spMkLst>
        </pc:spChg>
        <pc:grpChg chg="add mod">
          <ac:chgData name="Tino Kühnel" userId="b4ac53a3-162f-4d7e-a628-fb95a7ef6df5" providerId="ADAL" clId="{83840B2F-7618-485B-831D-C56FA9388717}" dt="2023-10-10T16:43:42.593" v="364" actId="1076"/>
          <ac:grpSpMkLst>
            <pc:docMk/>
            <pc:sldMk cId="2956064268" sldId="2147375377"/>
            <ac:grpSpMk id="7" creationId="{AAD289E0-2BDB-8E08-A9D8-BD96AAFE2F66}"/>
          </ac:grpSpMkLst>
        </pc:grpChg>
        <pc:grpChg chg="mod">
          <ac:chgData name="Tino Kühnel" userId="b4ac53a3-162f-4d7e-a628-fb95a7ef6df5" providerId="ADAL" clId="{83840B2F-7618-485B-831D-C56FA9388717}" dt="2023-10-10T16:43:42.593" v="364" actId="1076"/>
          <ac:grpSpMkLst>
            <pc:docMk/>
            <pc:sldMk cId="2956064268" sldId="2147375377"/>
            <ac:grpSpMk id="10" creationId="{D575D6BD-AE94-D425-7177-274ACA082953}"/>
          </ac:grpSpMkLst>
        </pc:grpChg>
        <pc:picChg chg="mod">
          <ac:chgData name="Tino Kühnel" userId="b4ac53a3-162f-4d7e-a628-fb95a7ef6df5" providerId="ADAL" clId="{83840B2F-7618-485B-831D-C56FA9388717}" dt="2023-10-10T16:43:42.593" v="364" actId="1076"/>
          <ac:picMkLst>
            <pc:docMk/>
            <pc:sldMk cId="2956064268" sldId="2147375377"/>
            <ac:picMk id="11" creationId="{7E10DD94-4169-CDE7-D294-1C901BE98168}"/>
          </ac:picMkLst>
        </pc:picChg>
        <pc:picChg chg="mod">
          <ac:chgData name="Tino Kühnel" userId="b4ac53a3-162f-4d7e-a628-fb95a7ef6df5" providerId="ADAL" clId="{83840B2F-7618-485B-831D-C56FA9388717}" dt="2023-10-10T16:43:42.593" v="364" actId="1076"/>
          <ac:picMkLst>
            <pc:docMk/>
            <pc:sldMk cId="2956064268" sldId="2147375377"/>
            <ac:picMk id="12" creationId="{1EFC1767-8AF4-C4B3-8ACB-44CB165B04B6}"/>
          </ac:picMkLst>
        </pc:picChg>
      </pc:sldChg>
      <pc:sldChg chg="modSp mod">
        <pc:chgData name="Tino Kühnel" userId="b4ac53a3-162f-4d7e-a628-fb95a7ef6df5" providerId="ADAL" clId="{83840B2F-7618-485B-831D-C56FA9388717}" dt="2023-10-13T14:43:26.579" v="417" actId="1076"/>
        <pc:sldMkLst>
          <pc:docMk/>
          <pc:sldMk cId="1215231123" sldId="2147375378"/>
        </pc:sldMkLst>
        <pc:spChg chg="mod">
          <ac:chgData name="Tino Kühnel" userId="b4ac53a3-162f-4d7e-a628-fb95a7ef6df5" providerId="ADAL" clId="{83840B2F-7618-485B-831D-C56FA9388717}" dt="2023-10-13T14:43:26.579" v="417" actId="1076"/>
          <ac:spMkLst>
            <pc:docMk/>
            <pc:sldMk cId="1215231123" sldId="2147375378"/>
            <ac:spMk id="5" creationId="{3409AB0D-1D11-14B6-65F9-9301ADFCC542}"/>
          </ac:spMkLst>
        </pc:spChg>
      </pc:sldChg>
      <pc:sldMasterChg chg="modSldLayout">
        <pc:chgData name="Tino Kühnel" userId="b4ac53a3-162f-4d7e-a628-fb95a7ef6df5" providerId="ADAL" clId="{83840B2F-7618-485B-831D-C56FA9388717}" dt="2023-10-10T16:40:51.586" v="345" actId="478"/>
        <pc:sldMasterMkLst>
          <pc:docMk/>
          <pc:sldMasterMk cId="3689281850" sldId="2147483648"/>
        </pc:sldMasterMkLst>
        <pc:sldLayoutChg chg="addSp delSp mod">
          <pc:chgData name="Tino Kühnel" userId="b4ac53a3-162f-4d7e-a628-fb95a7ef6df5" providerId="ADAL" clId="{83840B2F-7618-485B-831D-C56FA9388717}" dt="2023-10-10T16:40:51.586" v="345" actId="478"/>
          <pc:sldLayoutMkLst>
            <pc:docMk/>
            <pc:sldMasterMk cId="3689281850" sldId="2147483648"/>
            <pc:sldLayoutMk cId="744806608" sldId="2147483717"/>
          </pc:sldLayoutMkLst>
          <pc:picChg chg="add del">
            <ac:chgData name="Tino Kühnel" userId="b4ac53a3-162f-4d7e-a628-fb95a7ef6df5" providerId="ADAL" clId="{83840B2F-7618-485B-831D-C56FA9388717}" dt="2023-10-10T16:40:51.586" v="345" actId="478"/>
            <ac:picMkLst>
              <pc:docMk/>
              <pc:sldMasterMk cId="3689281850" sldId="2147483648"/>
              <pc:sldLayoutMk cId="744806608" sldId="2147483717"/>
              <ac:picMk id="7" creationId="{B47D1616-1471-A87B-EDA5-8D1D0AA6DAA0}"/>
            </ac:picMkLst>
          </pc:picChg>
        </pc:sldLayoutChg>
      </pc:sldMasterChg>
    </pc:docChg>
  </pc:docChgLst>
  <pc:docChgLst>
    <pc:chgData name="Luis Moßburger" userId="S::luis.mossburger@byte.bayern::2a606c2b-1031-4842-b567-351303c62b15" providerId="AD" clId="Web-{632B6521-EB7F-E249-1FC7-D7A4C00D533E}"/>
    <pc:docChg chg="delSld modSld sldOrd modSection">
      <pc:chgData name="Luis Moßburger" userId="S::luis.mossburger@byte.bayern::2a606c2b-1031-4842-b567-351303c62b15" providerId="AD" clId="Web-{632B6521-EB7F-E249-1FC7-D7A4C00D533E}" dt="2023-11-30T20:50:14.978" v="49"/>
      <pc:docMkLst>
        <pc:docMk/>
      </pc:docMkLst>
      <pc:sldChg chg="del">
        <pc:chgData name="Luis Moßburger" userId="S::luis.mossburger@byte.bayern::2a606c2b-1031-4842-b567-351303c62b15" providerId="AD" clId="Web-{632B6521-EB7F-E249-1FC7-D7A4C00D533E}" dt="2023-11-30T20:50:04.009" v="32"/>
        <pc:sldMkLst>
          <pc:docMk/>
          <pc:sldMk cId="2744386159" sldId="277"/>
        </pc:sldMkLst>
      </pc:sldChg>
      <pc:sldChg chg="del">
        <pc:chgData name="Luis Moßburger" userId="S::luis.mossburger@byte.bayern::2a606c2b-1031-4842-b567-351303c62b15" providerId="AD" clId="Web-{632B6521-EB7F-E249-1FC7-D7A4C00D533E}" dt="2023-11-30T20:50:04.009" v="31"/>
        <pc:sldMkLst>
          <pc:docMk/>
          <pc:sldMk cId="1572031703" sldId="278"/>
        </pc:sldMkLst>
      </pc:sldChg>
      <pc:sldChg chg="del">
        <pc:chgData name="Luis Moßburger" userId="S::luis.mossburger@byte.bayern::2a606c2b-1031-4842-b567-351303c62b15" providerId="AD" clId="Web-{632B6521-EB7F-E249-1FC7-D7A4C00D533E}" dt="2023-11-30T20:50:04.009" v="34"/>
        <pc:sldMkLst>
          <pc:docMk/>
          <pc:sldMk cId="1299689136" sldId="296"/>
        </pc:sldMkLst>
      </pc:sldChg>
      <pc:sldChg chg="modSp">
        <pc:chgData name="Luis Moßburger" userId="S::luis.mossburger@byte.bayern::2a606c2b-1031-4842-b567-351303c62b15" providerId="AD" clId="Web-{632B6521-EB7F-E249-1FC7-D7A4C00D533E}" dt="2023-11-30T20:43:10.324" v="28" actId="20577"/>
        <pc:sldMkLst>
          <pc:docMk/>
          <pc:sldMk cId="3841652053" sldId="334"/>
        </pc:sldMkLst>
        <pc:spChg chg="mod">
          <ac:chgData name="Luis Moßburger" userId="S::luis.mossburger@byte.bayern::2a606c2b-1031-4842-b567-351303c62b15" providerId="AD" clId="Web-{632B6521-EB7F-E249-1FC7-D7A4C00D533E}" dt="2023-11-30T20:43:10.324" v="28" actId="20577"/>
          <ac:spMkLst>
            <pc:docMk/>
            <pc:sldMk cId="3841652053" sldId="334"/>
            <ac:spMk id="11" creationId="{7865A325-2FF7-EB48-12F7-94D33937787A}"/>
          </ac:spMkLst>
        </pc:spChg>
        <pc:spChg chg="mod">
          <ac:chgData name="Luis Moßburger" userId="S::luis.mossburger@byte.bayern::2a606c2b-1031-4842-b567-351303c62b15" providerId="AD" clId="Web-{632B6521-EB7F-E249-1FC7-D7A4C00D533E}" dt="2023-11-30T20:43:04.418" v="20" actId="20577"/>
          <ac:spMkLst>
            <pc:docMk/>
            <pc:sldMk cId="3841652053" sldId="334"/>
            <ac:spMk id="13" creationId="{55CCE1FD-6735-EB62-3DCB-EC299FB33612}"/>
          </ac:spMkLst>
        </pc:spChg>
        <pc:spChg chg="mod">
          <ac:chgData name="Luis Moßburger" userId="S::luis.mossburger@byte.bayern::2a606c2b-1031-4842-b567-351303c62b15" providerId="AD" clId="Web-{632B6521-EB7F-E249-1FC7-D7A4C00D533E}" dt="2023-11-30T20:42:57.808" v="7" actId="20577"/>
          <ac:spMkLst>
            <pc:docMk/>
            <pc:sldMk cId="3841652053" sldId="334"/>
            <ac:spMk id="32" creationId="{BFC5D80A-3BE3-1C52-6007-92EBC85F2574}"/>
          </ac:spMkLst>
        </pc:spChg>
      </pc:sldChg>
      <pc:sldChg chg="del">
        <pc:chgData name="Luis Moßburger" userId="S::luis.mossburger@byte.bayern::2a606c2b-1031-4842-b567-351303c62b15" providerId="AD" clId="Web-{632B6521-EB7F-E249-1FC7-D7A4C00D533E}" dt="2023-11-30T20:50:04.087" v="41"/>
        <pc:sldMkLst>
          <pc:docMk/>
          <pc:sldMk cId="2721334043" sldId="2147375316"/>
        </pc:sldMkLst>
      </pc:sldChg>
      <pc:sldChg chg="del">
        <pc:chgData name="Luis Moßburger" userId="S::luis.mossburger@byte.bayern::2a606c2b-1031-4842-b567-351303c62b15" providerId="AD" clId="Web-{632B6521-EB7F-E249-1FC7-D7A4C00D533E}" dt="2023-11-30T20:50:04.009" v="35"/>
        <pc:sldMkLst>
          <pc:docMk/>
          <pc:sldMk cId="3719644468" sldId="2147375318"/>
        </pc:sldMkLst>
      </pc:sldChg>
      <pc:sldChg chg="del">
        <pc:chgData name="Luis Moßburger" userId="S::luis.mossburger@byte.bayern::2a606c2b-1031-4842-b567-351303c62b15" providerId="AD" clId="Web-{632B6521-EB7F-E249-1FC7-D7A4C00D533E}" dt="2023-11-30T20:50:04.009" v="30"/>
        <pc:sldMkLst>
          <pc:docMk/>
          <pc:sldMk cId="1964007187" sldId="2147375319"/>
        </pc:sldMkLst>
      </pc:sldChg>
      <pc:sldChg chg="del">
        <pc:chgData name="Luis Moßburger" userId="S::luis.mossburger@byte.bayern::2a606c2b-1031-4842-b567-351303c62b15" providerId="AD" clId="Web-{632B6521-EB7F-E249-1FC7-D7A4C00D533E}" dt="2023-11-30T20:50:04.025" v="36"/>
        <pc:sldMkLst>
          <pc:docMk/>
          <pc:sldMk cId="2922478610" sldId="2147375321"/>
        </pc:sldMkLst>
      </pc:sldChg>
      <pc:sldChg chg="del">
        <pc:chgData name="Luis Moßburger" userId="S::luis.mossburger@byte.bayern::2a606c2b-1031-4842-b567-351303c62b15" providerId="AD" clId="Web-{632B6521-EB7F-E249-1FC7-D7A4C00D533E}" dt="2023-11-30T20:50:04.134" v="44"/>
        <pc:sldMkLst>
          <pc:docMk/>
          <pc:sldMk cId="4039200423" sldId="2147375324"/>
        </pc:sldMkLst>
      </pc:sldChg>
      <pc:sldChg chg="del">
        <pc:chgData name="Luis Moßburger" userId="S::luis.mossburger@byte.bayern::2a606c2b-1031-4842-b567-351303c62b15" providerId="AD" clId="Web-{632B6521-EB7F-E249-1FC7-D7A4C00D533E}" dt="2023-11-30T20:50:04.134" v="43"/>
        <pc:sldMkLst>
          <pc:docMk/>
          <pc:sldMk cId="1557135621" sldId="2147375326"/>
        </pc:sldMkLst>
      </pc:sldChg>
      <pc:sldChg chg="del">
        <pc:chgData name="Luis Moßburger" userId="S::luis.mossburger@byte.bayern::2a606c2b-1031-4842-b567-351303c62b15" providerId="AD" clId="Web-{632B6521-EB7F-E249-1FC7-D7A4C00D533E}" dt="2023-11-30T20:50:04.134" v="42"/>
        <pc:sldMkLst>
          <pc:docMk/>
          <pc:sldMk cId="4015643244" sldId="2147375327"/>
        </pc:sldMkLst>
      </pc:sldChg>
      <pc:sldChg chg="del">
        <pc:chgData name="Luis Moßburger" userId="S::luis.mossburger@byte.bayern::2a606c2b-1031-4842-b567-351303c62b15" providerId="AD" clId="Web-{632B6521-EB7F-E249-1FC7-D7A4C00D533E}" dt="2023-11-30T20:50:04.072" v="39"/>
        <pc:sldMkLst>
          <pc:docMk/>
          <pc:sldMk cId="2279372925" sldId="2147375328"/>
        </pc:sldMkLst>
      </pc:sldChg>
      <pc:sldChg chg="del">
        <pc:chgData name="Luis Moßburger" userId="S::luis.mossburger@byte.bayern::2a606c2b-1031-4842-b567-351303c62b15" providerId="AD" clId="Web-{632B6521-EB7F-E249-1FC7-D7A4C00D533E}" dt="2023-11-30T20:50:04.072" v="40"/>
        <pc:sldMkLst>
          <pc:docMk/>
          <pc:sldMk cId="2105694519" sldId="2147375329"/>
        </pc:sldMkLst>
      </pc:sldChg>
      <pc:sldChg chg="del">
        <pc:chgData name="Luis Moßburger" userId="S::luis.mossburger@byte.bayern::2a606c2b-1031-4842-b567-351303c62b15" providerId="AD" clId="Web-{632B6521-EB7F-E249-1FC7-D7A4C00D533E}" dt="2023-11-30T20:50:04.072" v="38"/>
        <pc:sldMkLst>
          <pc:docMk/>
          <pc:sldMk cId="726628516" sldId="2147375330"/>
        </pc:sldMkLst>
      </pc:sldChg>
      <pc:sldChg chg="del">
        <pc:chgData name="Luis Moßburger" userId="S::luis.mossburger@byte.bayern::2a606c2b-1031-4842-b567-351303c62b15" providerId="AD" clId="Web-{632B6521-EB7F-E249-1FC7-D7A4C00D533E}" dt="2023-11-30T20:50:04.009" v="33"/>
        <pc:sldMkLst>
          <pc:docMk/>
          <pc:sldMk cId="2899031232" sldId="2147375374"/>
        </pc:sldMkLst>
      </pc:sldChg>
      <pc:sldChg chg="del">
        <pc:chgData name="Luis Moßburger" userId="S::luis.mossburger@byte.bayern::2a606c2b-1031-4842-b567-351303c62b15" providerId="AD" clId="Web-{632B6521-EB7F-E249-1FC7-D7A4C00D533E}" dt="2023-11-30T20:50:04.025" v="37"/>
        <pc:sldMkLst>
          <pc:docMk/>
          <pc:sldMk cId="1215231123" sldId="2147375378"/>
        </pc:sldMkLst>
      </pc:sldChg>
      <pc:sldChg chg="del">
        <pc:chgData name="Luis Moßburger" userId="S::luis.mossburger@byte.bayern::2a606c2b-1031-4842-b567-351303c62b15" providerId="AD" clId="Web-{632B6521-EB7F-E249-1FC7-D7A4C00D533E}" dt="2023-11-30T20:50:04.134" v="45"/>
        <pc:sldMkLst>
          <pc:docMk/>
          <pc:sldMk cId="4264803930" sldId="2147375380"/>
        </pc:sldMkLst>
      </pc:sldChg>
      <pc:sldChg chg="ord">
        <pc:chgData name="Luis Moßburger" userId="S::luis.mossburger@byte.bayern::2a606c2b-1031-4842-b567-351303c62b15" providerId="AD" clId="Web-{632B6521-EB7F-E249-1FC7-D7A4C00D533E}" dt="2023-11-30T20:49:08.150" v="29"/>
        <pc:sldMkLst>
          <pc:docMk/>
          <pc:sldMk cId="3320957648" sldId="2147375401"/>
        </pc:sldMkLst>
      </pc:sldChg>
      <pc:sldChg chg="del">
        <pc:chgData name="Luis Moßburger" userId="S::luis.mossburger@byte.bayern::2a606c2b-1031-4842-b567-351303c62b15" providerId="AD" clId="Web-{632B6521-EB7F-E249-1FC7-D7A4C00D533E}" dt="2023-11-30T20:50:14.962" v="46"/>
        <pc:sldMkLst>
          <pc:docMk/>
          <pc:sldMk cId="3992212040" sldId="2147375407"/>
        </pc:sldMkLst>
      </pc:sldChg>
      <pc:sldChg chg="del">
        <pc:chgData name="Luis Moßburger" userId="S::luis.mossburger@byte.bayern::2a606c2b-1031-4842-b567-351303c62b15" providerId="AD" clId="Web-{632B6521-EB7F-E249-1FC7-D7A4C00D533E}" dt="2023-11-30T20:50:14.978" v="47"/>
        <pc:sldMkLst>
          <pc:docMk/>
          <pc:sldMk cId="939471627" sldId="2147375408"/>
        </pc:sldMkLst>
      </pc:sldChg>
      <pc:sldChg chg="del">
        <pc:chgData name="Luis Moßburger" userId="S::luis.mossburger@byte.bayern::2a606c2b-1031-4842-b567-351303c62b15" providerId="AD" clId="Web-{632B6521-EB7F-E249-1FC7-D7A4C00D533E}" dt="2023-11-30T20:50:14.978" v="48"/>
        <pc:sldMkLst>
          <pc:docMk/>
          <pc:sldMk cId="1485481291" sldId="2147375409"/>
        </pc:sldMkLst>
      </pc:sldChg>
      <pc:sldChg chg="del">
        <pc:chgData name="Luis Moßburger" userId="S::luis.mossburger@byte.bayern::2a606c2b-1031-4842-b567-351303c62b15" providerId="AD" clId="Web-{632B6521-EB7F-E249-1FC7-D7A4C00D533E}" dt="2023-11-30T20:50:14.978" v="49"/>
        <pc:sldMkLst>
          <pc:docMk/>
          <pc:sldMk cId="85070695" sldId="2147375410"/>
        </pc:sldMkLst>
      </pc:sldChg>
      <pc:sldChg chg="modSp">
        <pc:chgData name="Luis Moßburger" userId="S::luis.mossburger@byte.bayern::2a606c2b-1031-4842-b567-351303c62b15" providerId="AD" clId="Web-{632B6521-EB7F-E249-1FC7-D7A4C00D533E}" dt="2023-11-30T20:42:45.043" v="0" actId="20577"/>
        <pc:sldMkLst>
          <pc:docMk/>
          <pc:sldMk cId="1544568979" sldId="2147375421"/>
        </pc:sldMkLst>
        <pc:spChg chg="mod">
          <ac:chgData name="Luis Moßburger" userId="S::luis.mossburger@byte.bayern::2a606c2b-1031-4842-b567-351303c62b15" providerId="AD" clId="Web-{632B6521-EB7F-E249-1FC7-D7A4C00D533E}" dt="2023-11-30T20:42:45.043" v="0" actId="20577"/>
          <ac:spMkLst>
            <pc:docMk/>
            <pc:sldMk cId="1544568979" sldId="2147375421"/>
            <ac:spMk id="3" creationId="{73011B60-A90B-81EF-2CA0-6CDCC88BED73}"/>
          </ac:spMkLst>
        </pc:spChg>
      </pc:sldChg>
    </pc:docChg>
  </pc:docChgLst>
  <pc:docChgLst>
    <pc:chgData name="Luis Moßburger" userId="2a606c2b-1031-4842-b567-351303c62b15" providerId="ADAL" clId="{734F8F77-5156-B642-A9F9-F092C68D293B}"/>
    <pc:docChg chg="undo redo custSel addSld delSld modSld sldOrd modSection">
      <pc:chgData name="Luis Moßburger" userId="2a606c2b-1031-4842-b567-351303c62b15" providerId="ADAL" clId="{734F8F77-5156-B642-A9F9-F092C68D293B}" dt="2024-01-18T09:04:05.288" v="1259" actId="20577"/>
      <pc:docMkLst>
        <pc:docMk/>
      </pc:docMkLst>
      <pc:sldChg chg="add del">
        <pc:chgData name="Luis Moßburger" userId="2a606c2b-1031-4842-b567-351303c62b15" providerId="ADAL" clId="{734F8F77-5156-B642-A9F9-F092C68D293B}" dt="2024-01-17T17:41:58.791" v="173" actId="2696"/>
        <pc:sldMkLst>
          <pc:docMk/>
          <pc:sldMk cId="3841652053" sldId="334"/>
        </pc:sldMkLst>
      </pc:sldChg>
      <pc:sldChg chg="del">
        <pc:chgData name="Luis Moßburger" userId="2a606c2b-1031-4842-b567-351303c62b15" providerId="ADAL" clId="{734F8F77-5156-B642-A9F9-F092C68D293B}" dt="2024-01-17T17:39:49.579" v="27" actId="2696"/>
        <pc:sldMkLst>
          <pc:docMk/>
          <pc:sldMk cId="3272669451" sldId="2147375322"/>
        </pc:sldMkLst>
      </pc:sldChg>
      <pc:sldChg chg="del">
        <pc:chgData name="Luis Moßburger" userId="2a606c2b-1031-4842-b567-351303c62b15" providerId="ADAL" clId="{734F8F77-5156-B642-A9F9-F092C68D293B}" dt="2024-01-17T17:37:52.925" v="18" actId="2696"/>
        <pc:sldMkLst>
          <pc:docMk/>
          <pc:sldMk cId="2693242410" sldId="2147375348"/>
        </pc:sldMkLst>
      </pc:sldChg>
      <pc:sldChg chg="del">
        <pc:chgData name="Luis Moßburger" userId="2a606c2b-1031-4842-b567-351303c62b15" providerId="ADAL" clId="{734F8F77-5156-B642-A9F9-F092C68D293B}" dt="2024-01-17T17:37:56.130" v="19" actId="2696"/>
        <pc:sldMkLst>
          <pc:docMk/>
          <pc:sldMk cId="1318642480" sldId="2147375349"/>
        </pc:sldMkLst>
      </pc:sldChg>
      <pc:sldChg chg="addSp delSp modSp add del mod delAnim modAnim">
        <pc:chgData name="Luis Moßburger" userId="2a606c2b-1031-4842-b567-351303c62b15" providerId="ADAL" clId="{734F8F77-5156-B642-A9F9-F092C68D293B}" dt="2024-01-17T17:43:27.369" v="204" actId="478"/>
        <pc:sldMkLst>
          <pc:docMk/>
          <pc:sldMk cId="408761079" sldId="2147375351"/>
        </pc:sldMkLst>
        <pc:spChg chg="add mod">
          <ac:chgData name="Luis Moßburger" userId="2a606c2b-1031-4842-b567-351303c62b15" providerId="ADAL" clId="{734F8F77-5156-B642-A9F9-F092C68D293B}" dt="2024-01-17T17:43:24.974" v="203" actId="207"/>
          <ac:spMkLst>
            <pc:docMk/>
            <pc:sldMk cId="408761079" sldId="2147375351"/>
            <ac:spMk id="4" creationId="{A79DF562-DAF0-5FC2-7BD0-B944E5A28E7C}"/>
          </ac:spMkLst>
        </pc:spChg>
        <pc:spChg chg="del">
          <ac:chgData name="Luis Moßburger" userId="2a606c2b-1031-4842-b567-351303c62b15" providerId="ADAL" clId="{734F8F77-5156-B642-A9F9-F092C68D293B}" dt="2024-01-17T17:43:27.369" v="204" actId="478"/>
          <ac:spMkLst>
            <pc:docMk/>
            <pc:sldMk cId="408761079" sldId="2147375351"/>
            <ac:spMk id="23" creationId="{82383DBB-32A0-79A9-FD56-2572E277CD03}"/>
          </ac:spMkLst>
        </pc:spChg>
        <pc:picChg chg="add del mod">
          <ac:chgData name="Luis Moßburger" userId="2a606c2b-1031-4842-b567-351303c62b15" providerId="ADAL" clId="{734F8F77-5156-B642-A9F9-F092C68D293B}" dt="2024-01-17T17:43:12.054" v="201" actId="478"/>
          <ac:picMkLst>
            <pc:docMk/>
            <pc:sldMk cId="408761079" sldId="2147375351"/>
            <ac:picMk id="3" creationId="{7223523F-5176-BB81-C226-ED58B5F03513}"/>
          </ac:picMkLst>
        </pc:picChg>
        <pc:picChg chg="mod">
          <ac:chgData name="Luis Moßburger" userId="2a606c2b-1031-4842-b567-351303c62b15" providerId="ADAL" clId="{734F8F77-5156-B642-A9F9-F092C68D293B}" dt="2024-01-17T17:43:09.696" v="200" actId="14100"/>
          <ac:picMkLst>
            <pc:docMk/>
            <pc:sldMk cId="408761079" sldId="2147375351"/>
            <ac:picMk id="6" creationId="{E13A1590-DA43-4E35-7B09-A75FC80C5540}"/>
          </ac:picMkLst>
        </pc:picChg>
      </pc:sldChg>
      <pc:sldChg chg="del">
        <pc:chgData name="Luis Moßburger" userId="2a606c2b-1031-4842-b567-351303c62b15" providerId="ADAL" clId="{734F8F77-5156-B642-A9F9-F092C68D293B}" dt="2024-01-17T17:37:15.079" v="0" actId="2696"/>
        <pc:sldMkLst>
          <pc:docMk/>
          <pc:sldMk cId="1315969937" sldId="2147375389"/>
        </pc:sldMkLst>
      </pc:sldChg>
      <pc:sldChg chg="del">
        <pc:chgData name="Luis Moßburger" userId="2a606c2b-1031-4842-b567-351303c62b15" providerId="ADAL" clId="{734F8F77-5156-B642-A9F9-F092C68D293B}" dt="2024-01-17T17:37:15.748" v="1" actId="2696"/>
        <pc:sldMkLst>
          <pc:docMk/>
          <pc:sldMk cId="1955307389" sldId="2147375390"/>
        </pc:sldMkLst>
      </pc:sldChg>
      <pc:sldChg chg="del">
        <pc:chgData name="Luis Moßburger" userId="2a606c2b-1031-4842-b567-351303c62b15" providerId="ADAL" clId="{734F8F77-5156-B642-A9F9-F092C68D293B}" dt="2024-01-17T17:37:17.059" v="2" actId="2696"/>
        <pc:sldMkLst>
          <pc:docMk/>
          <pc:sldMk cId="799195672" sldId="2147375391"/>
        </pc:sldMkLst>
      </pc:sldChg>
      <pc:sldChg chg="del">
        <pc:chgData name="Luis Moßburger" userId="2a606c2b-1031-4842-b567-351303c62b15" providerId="ADAL" clId="{734F8F77-5156-B642-A9F9-F092C68D293B}" dt="2024-01-17T17:37:18.292" v="3" actId="2696"/>
        <pc:sldMkLst>
          <pc:docMk/>
          <pc:sldMk cId="500211859" sldId="2147375392"/>
        </pc:sldMkLst>
      </pc:sldChg>
      <pc:sldChg chg="del">
        <pc:chgData name="Luis Moßburger" userId="2a606c2b-1031-4842-b567-351303c62b15" providerId="ADAL" clId="{734F8F77-5156-B642-A9F9-F092C68D293B}" dt="2024-01-17T17:37:47.723" v="16" actId="2696"/>
        <pc:sldMkLst>
          <pc:docMk/>
          <pc:sldMk cId="1520257580" sldId="2147375393"/>
        </pc:sldMkLst>
      </pc:sldChg>
      <pc:sldChg chg="del">
        <pc:chgData name="Luis Moßburger" userId="2a606c2b-1031-4842-b567-351303c62b15" providerId="ADAL" clId="{734F8F77-5156-B642-A9F9-F092C68D293B}" dt="2024-01-17T17:37:51.090" v="17" actId="2696"/>
        <pc:sldMkLst>
          <pc:docMk/>
          <pc:sldMk cId="4139311399" sldId="2147375396"/>
        </pc:sldMkLst>
      </pc:sldChg>
      <pc:sldChg chg="add del ord">
        <pc:chgData name="Luis Moßburger" userId="2a606c2b-1031-4842-b567-351303c62b15" providerId="ADAL" clId="{734F8F77-5156-B642-A9F9-F092C68D293B}" dt="2024-01-17T17:43:32.633" v="205" actId="2696"/>
        <pc:sldMkLst>
          <pc:docMk/>
          <pc:sldMk cId="2862999593" sldId="2147375397"/>
        </pc:sldMkLst>
      </pc:sldChg>
      <pc:sldChg chg="del">
        <pc:chgData name="Luis Moßburger" userId="2a606c2b-1031-4842-b567-351303c62b15" providerId="ADAL" clId="{734F8F77-5156-B642-A9F9-F092C68D293B}" dt="2024-01-17T17:37:39.226" v="14" actId="2696"/>
        <pc:sldMkLst>
          <pc:docMk/>
          <pc:sldMk cId="4015617848" sldId="2147375398"/>
        </pc:sldMkLst>
      </pc:sldChg>
      <pc:sldChg chg="add del">
        <pc:chgData name="Luis Moßburger" userId="2a606c2b-1031-4842-b567-351303c62b15" providerId="ADAL" clId="{734F8F77-5156-B642-A9F9-F092C68D293B}" dt="2024-01-17T17:41:58.602" v="171" actId="2696"/>
        <pc:sldMkLst>
          <pc:docMk/>
          <pc:sldMk cId="528067692" sldId="2147375399"/>
        </pc:sldMkLst>
      </pc:sldChg>
      <pc:sldChg chg="add del">
        <pc:chgData name="Luis Moßburger" userId="2a606c2b-1031-4842-b567-351303c62b15" providerId="ADAL" clId="{734F8F77-5156-B642-A9F9-F092C68D293B}" dt="2024-01-17T17:41:58.090" v="170" actId="2696"/>
        <pc:sldMkLst>
          <pc:docMk/>
          <pc:sldMk cId="3320957648" sldId="2147375401"/>
        </pc:sldMkLst>
      </pc:sldChg>
      <pc:sldChg chg="del">
        <pc:chgData name="Luis Moßburger" userId="2a606c2b-1031-4842-b567-351303c62b15" providerId="ADAL" clId="{734F8F77-5156-B642-A9F9-F092C68D293B}" dt="2024-01-17T17:39:51.598" v="29" actId="2696"/>
        <pc:sldMkLst>
          <pc:docMk/>
          <pc:sldMk cId="4294104980" sldId="2147375402"/>
        </pc:sldMkLst>
      </pc:sldChg>
      <pc:sldChg chg="add del ord">
        <pc:chgData name="Luis Moßburger" userId="2a606c2b-1031-4842-b567-351303c62b15" providerId="ADAL" clId="{734F8F77-5156-B642-A9F9-F092C68D293B}" dt="2024-01-17T17:41:58.696" v="172" actId="2696"/>
        <pc:sldMkLst>
          <pc:docMk/>
          <pc:sldMk cId="1870288399" sldId="2147375403"/>
        </pc:sldMkLst>
      </pc:sldChg>
      <pc:sldChg chg="del">
        <pc:chgData name="Luis Moßburger" userId="2a606c2b-1031-4842-b567-351303c62b15" providerId="ADAL" clId="{734F8F77-5156-B642-A9F9-F092C68D293B}" dt="2024-01-17T17:37:20.422" v="4" actId="2696"/>
        <pc:sldMkLst>
          <pc:docMk/>
          <pc:sldMk cId="3431314746" sldId="2147375405"/>
        </pc:sldMkLst>
      </pc:sldChg>
      <pc:sldChg chg="ord">
        <pc:chgData name="Luis Moßburger" userId="2a606c2b-1031-4842-b567-351303c62b15" providerId="ADAL" clId="{734F8F77-5156-B642-A9F9-F092C68D293B}" dt="2024-01-18T09:03:33.166" v="1230" actId="20578"/>
        <pc:sldMkLst>
          <pc:docMk/>
          <pc:sldMk cId="1484527794" sldId="2147375406"/>
        </pc:sldMkLst>
      </pc:sldChg>
      <pc:sldChg chg="del">
        <pc:chgData name="Luis Moßburger" userId="2a606c2b-1031-4842-b567-351303c62b15" providerId="ADAL" clId="{734F8F77-5156-B642-A9F9-F092C68D293B}" dt="2024-01-17T17:39:46.777" v="24" actId="2696"/>
        <pc:sldMkLst>
          <pc:docMk/>
          <pc:sldMk cId="4229633207" sldId="2147375408"/>
        </pc:sldMkLst>
      </pc:sldChg>
      <pc:sldChg chg="del">
        <pc:chgData name="Luis Moßburger" userId="2a606c2b-1031-4842-b567-351303c62b15" providerId="ADAL" clId="{734F8F77-5156-B642-A9F9-F092C68D293B}" dt="2024-01-17T17:39:46.762" v="22" actId="2696"/>
        <pc:sldMkLst>
          <pc:docMk/>
          <pc:sldMk cId="1733392667" sldId="2147375409"/>
        </pc:sldMkLst>
      </pc:sldChg>
      <pc:sldChg chg="del">
        <pc:chgData name="Luis Moßburger" userId="2a606c2b-1031-4842-b567-351303c62b15" providerId="ADAL" clId="{734F8F77-5156-B642-A9F9-F092C68D293B}" dt="2024-01-17T17:39:46.797" v="26" actId="2696"/>
        <pc:sldMkLst>
          <pc:docMk/>
          <pc:sldMk cId="989651028" sldId="2147375410"/>
        </pc:sldMkLst>
      </pc:sldChg>
      <pc:sldChg chg="del">
        <pc:chgData name="Luis Moßburger" userId="2a606c2b-1031-4842-b567-351303c62b15" providerId="ADAL" clId="{734F8F77-5156-B642-A9F9-F092C68D293B}" dt="2024-01-17T17:37:20.838" v="5" actId="2696"/>
        <pc:sldMkLst>
          <pc:docMk/>
          <pc:sldMk cId="1300533682" sldId="2147375412"/>
        </pc:sldMkLst>
      </pc:sldChg>
      <pc:sldChg chg="del">
        <pc:chgData name="Luis Moßburger" userId="2a606c2b-1031-4842-b567-351303c62b15" providerId="ADAL" clId="{734F8F77-5156-B642-A9F9-F092C68D293B}" dt="2024-01-17T17:37:21.202" v="6" actId="2696"/>
        <pc:sldMkLst>
          <pc:docMk/>
          <pc:sldMk cId="1715779464" sldId="2147375416"/>
        </pc:sldMkLst>
      </pc:sldChg>
      <pc:sldChg chg="delSp modSp add del mod ord">
        <pc:chgData name="Luis Moßburger" userId="2a606c2b-1031-4842-b567-351303c62b15" providerId="ADAL" clId="{734F8F77-5156-B642-A9F9-F092C68D293B}" dt="2024-01-18T09:04:05.288" v="1259" actId="20577"/>
        <pc:sldMkLst>
          <pc:docMk/>
          <pc:sldMk cId="364104577" sldId="2147375417"/>
        </pc:sldMkLst>
        <pc:spChg chg="mod">
          <ac:chgData name="Luis Moßburger" userId="2a606c2b-1031-4842-b567-351303c62b15" providerId="ADAL" clId="{734F8F77-5156-B642-A9F9-F092C68D293B}" dt="2024-01-17T17:51:32.326" v="501" actId="20577"/>
          <ac:spMkLst>
            <pc:docMk/>
            <pc:sldMk cId="364104577" sldId="2147375417"/>
            <ac:spMk id="4" creationId="{238C3D29-A1DB-3BE0-C088-2F4CAC92AA4D}"/>
          </ac:spMkLst>
        </pc:spChg>
        <pc:spChg chg="mod">
          <ac:chgData name="Luis Moßburger" userId="2a606c2b-1031-4842-b567-351303c62b15" providerId="ADAL" clId="{734F8F77-5156-B642-A9F9-F092C68D293B}" dt="2024-01-18T09:04:05.288" v="1259" actId="20577"/>
          <ac:spMkLst>
            <pc:docMk/>
            <pc:sldMk cId="364104577" sldId="2147375417"/>
            <ac:spMk id="5" creationId="{079C4434-0496-53DB-0A7D-89E502F81B8E}"/>
          </ac:spMkLst>
        </pc:spChg>
        <pc:picChg chg="del">
          <ac:chgData name="Luis Moßburger" userId="2a606c2b-1031-4842-b567-351303c62b15" providerId="ADAL" clId="{734F8F77-5156-B642-A9F9-F092C68D293B}" dt="2024-01-17T17:37:28.986" v="11" actId="478"/>
          <ac:picMkLst>
            <pc:docMk/>
            <pc:sldMk cId="364104577" sldId="2147375417"/>
            <ac:picMk id="9" creationId="{105C3F8A-C491-068E-03D2-362BA34C6344}"/>
          </ac:picMkLst>
        </pc:picChg>
      </pc:sldChg>
      <pc:sldChg chg="del">
        <pc:chgData name="Luis Moßburger" userId="2a606c2b-1031-4842-b567-351303c62b15" providerId="ADAL" clId="{734F8F77-5156-B642-A9F9-F092C68D293B}" dt="2024-01-17T17:37:21.900" v="8" actId="2696"/>
        <pc:sldMkLst>
          <pc:docMk/>
          <pc:sldMk cId="1860187013" sldId="2147375418"/>
        </pc:sldMkLst>
      </pc:sldChg>
      <pc:sldChg chg="del">
        <pc:chgData name="Luis Moßburger" userId="2a606c2b-1031-4842-b567-351303c62b15" providerId="ADAL" clId="{734F8F77-5156-B642-A9F9-F092C68D293B}" dt="2024-01-17T17:37:21.545" v="7" actId="2696"/>
        <pc:sldMkLst>
          <pc:docMk/>
          <pc:sldMk cId="355309695" sldId="2147375419"/>
        </pc:sldMkLst>
      </pc:sldChg>
      <pc:sldChg chg="del">
        <pc:chgData name="Luis Moßburger" userId="2a606c2b-1031-4842-b567-351303c62b15" providerId="ADAL" clId="{734F8F77-5156-B642-A9F9-F092C68D293B}" dt="2024-01-17T17:37:36.729" v="13" actId="2696"/>
        <pc:sldMkLst>
          <pc:docMk/>
          <pc:sldMk cId="3693542138" sldId="2147375420"/>
        </pc:sldMkLst>
      </pc:sldChg>
      <pc:sldChg chg="modSp add del modAnim">
        <pc:chgData name="Luis Moßburger" userId="2a606c2b-1031-4842-b567-351303c62b15" providerId="ADAL" clId="{734F8F77-5156-B642-A9F9-F092C68D293B}" dt="2024-01-17T17:43:43.460" v="215" actId="20577"/>
        <pc:sldMkLst>
          <pc:docMk/>
          <pc:sldMk cId="2554559988" sldId="2147375422"/>
        </pc:sldMkLst>
        <pc:spChg chg="mod">
          <ac:chgData name="Luis Moßburger" userId="2a606c2b-1031-4842-b567-351303c62b15" providerId="ADAL" clId="{734F8F77-5156-B642-A9F9-F092C68D293B}" dt="2024-01-17T17:43:43.460" v="215" actId="20577"/>
          <ac:spMkLst>
            <pc:docMk/>
            <pc:sldMk cId="2554559988" sldId="2147375422"/>
            <ac:spMk id="3" creationId="{F3CDF1E2-4FAB-7D6C-6483-2DADB0CAE7A8}"/>
          </ac:spMkLst>
        </pc:spChg>
      </pc:sldChg>
      <pc:sldChg chg="addSp delSp modSp add mod ord">
        <pc:chgData name="Luis Moßburger" userId="2a606c2b-1031-4842-b567-351303c62b15" providerId="ADAL" clId="{734F8F77-5156-B642-A9F9-F092C68D293B}" dt="2024-01-18T09:03:59.957" v="1252" actId="20577"/>
        <pc:sldMkLst>
          <pc:docMk/>
          <pc:sldMk cId="517605465" sldId="2147375423"/>
        </pc:sldMkLst>
        <pc:spChg chg="mod">
          <ac:chgData name="Luis Moßburger" userId="2a606c2b-1031-4842-b567-351303c62b15" providerId="ADAL" clId="{734F8F77-5156-B642-A9F9-F092C68D293B}" dt="2024-01-17T17:54:16.069" v="760" actId="20577"/>
          <ac:spMkLst>
            <pc:docMk/>
            <pc:sldMk cId="517605465" sldId="2147375423"/>
            <ac:spMk id="4" creationId="{238C3D29-A1DB-3BE0-C088-2F4CAC92AA4D}"/>
          </ac:spMkLst>
        </pc:spChg>
        <pc:spChg chg="mod">
          <ac:chgData name="Luis Moßburger" userId="2a606c2b-1031-4842-b567-351303c62b15" providerId="ADAL" clId="{734F8F77-5156-B642-A9F9-F092C68D293B}" dt="2024-01-18T09:03:59.957" v="1252" actId="20577"/>
          <ac:spMkLst>
            <pc:docMk/>
            <pc:sldMk cId="517605465" sldId="2147375423"/>
            <ac:spMk id="5" creationId="{079C4434-0496-53DB-0A7D-89E502F81B8E}"/>
          </ac:spMkLst>
        </pc:spChg>
        <pc:picChg chg="add del mod">
          <ac:chgData name="Luis Moßburger" userId="2a606c2b-1031-4842-b567-351303c62b15" providerId="ADAL" clId="{734F8F77-5156-B642-A9F9-F092C68D293B}" dt="2024-01-17T17:56:07.957" v="960" actId="478"/>
          <ac:picMkLst>
            <pc:docMk/>
            <pc:sldMk cId="517605465" sldId="2147375423"/>
            <ac:picMk id="7" creationId="{1B00450A-6DB2-4E2C-455E-57FB5152AC32}"/>
          </ac:picMkLst>
        </pc:picChg>
      </pc:sldChg>
      <pc:sldChg chg="del">
        <pc:chgData name="Luis Moßburger" userId="2a606c2b-1031-4842-b567-351303c62b15" providerId="ADAL" clId="{734F8F77-5156-B642-A9F9-F092C68D293B}" dt="2024-01-17T17:39:46.776" v="23" actId="2696"/>
        <pc:sldMkLst>
          <pc:docMk/>
          <pc:sldMk cId="3860445179" sldId="2147375423"/>
        </pc:sldMkLst>
      </pc:sldChg>
      <pc:sldChg chg="addSp delSp modSp add mod ord delAnim modAnim">
        <pc:chgData name="Luis Moßburger" userId="2a606c2b-1031-4842-b567-351303c62b15" providerId="ADAL" clId="{734F8F77-5156-B642-A9F9-F092C68D293B}" dt="2024-01-18T09:03:44.735" v="1236" actId="20578"/>
        <pc:sldMkLst>
          <pc:docMk/>
          <pc:sldMk cId="1872937161" sldId="2147375424"/>
        </pc:sldMkLst>
        <pc:spChg chg="del mod">
          <ac:chgData name="Luis Moßburger" userId="2a606c2b-1031-4842-b567-351303c62b15" providerId="ADAL" clId="{734F8F77-5156-B642-A9F9-F092C68D293B}" dt="2024-01-17T17:55:57.646" v="956" actId="478"/>
          <ac:spMkLst>
            <pc:docMk/>
            <pc:sldMk cId="1872937161" sldId="2147375424"/>
            <ac:spMk id="3" creationId="{73011B60-A90B-81EF-2CA0-6CDCC88BED73}"/>
          </ac:spMkLst>
        </pc:spChg>
        <pc:spChg chg="mod">
          <ac:chgData name="Luis Moßburger" userId="2a606c2b-1031-4842-b567-351303c62b15" providerId="ADAL" clId="{734F8F77-5156-B642-A9F9-F092C68D293B}" dt="2024-01-17T17:55:53.955" v="954" actId="20577"/>
          <ac:spMkLst>
            <pc:docMk/>
            <pc:sldMk cId="1872937161" sldId="2147375424"/>
            <ac:spMk id="14" creationId="{BD4B07F7-54B4-117C-A54B-157F76389CB3}"/>
          </ac:spMkLst>
        </pc:spChg>
        <pc:spChg chg="del">
          <ac:chgData name="Luis Moßburger" userId="2a606c2b-1031-4842-b567-351303c62b15" providerId="ADAL" clId="{734F8F77-5156-B642-A9F9-F092C68D293B}" dt="2024-01-17T17:56:00.849" v="957" actId="478"/>
          <ac:spMkLst>
            <pc:docMk/>
            <pc:sldMk cId="1872937161" sldId="2147375424"/>
            <ac:spMk id="15" creationId="{F3C57456-5807-209F-9B83-435CAD44C9C4}"/>
          </ac:spMkLst>
        </pc:spChg>
        <pc:spChg chg="mod">
          <ac:chgData name="Luis Moßburger" userId="2a606c2b-1031-4842-b567-351303c62b15" providerId="ADAL" clId="{734F8F77-5156-B642-A9F9-F092C68D293B}" dt="2024-01-17T17:58:48.196" v="978"/>
          <ac:spMkLst>
            <pc:docMk/>
            <pc:sldMk cId="1872937161" sldId="2147375424"/>
            <ac:spMk id="19" creationId="{C3B384D2-3B28-3A06-3E8E-EEF792175A67}"/>
          </ac:spMkLst>
        </pc:spChg>
        <pc:spChg chg="mod">
          <ac:chgData name="Luis Moßburger" userId="2a606c2b-1031-4842-b567-351303c62b15" providerId="ADAL" clId="{734F8F77-5156-B642-A9F9-F092C68D293B}" dt="2024-01-17T17:58:48.196" v="978"/>
          <ac:spMkLst>
            <pc:docMk/>
            <pc:sldMk cId="1872937161" sldId="2147375424"/>
            <ac:spMk id="20" creationId="{E1C6CC4F-071A-A218-A704-245C6A16F1A0}"/>
          </ac:spMkLst>
        </pc:spChg>
        <pc:spChg chg="mod">
          <ac:chgData name="Luis Moßburger" userId="2a606c2b-1031-4842-b567-351303c62b15" providerId="ADAL" clId="{734F8F77-5156-B642-A9F9-F092C68D293B}" dt="2024-01-17T17:58:48.196" v="978"/>
          <ac:spMkLst>
            <pc:docMk/>
            <pc:sldMk cId="1872937161" sldId="2147375424"/>
            <ac:spMk id="21" creationId="{951B559A-489B-67B6-492C-2E2529F29AA7}"/>
          </ac:spMkLst>
        </pc:spChg>
        <pc:spChg chg="mod">
          <ac:chgData name="Luis Moßburger" userId="2a606c2b-1031-4842-b567-351303c62b15" providerId="ADAL" clId="{734F8F77-5156-B642-A9F9-F092C68D293B}" dt="2024-01-17T17:58:48.196" v="978"/>
          <ac:spMkLst>
            <pc:docMk/>
            <pc:sldMk cId="1872937161" sldId="2147375424"/>
            <ac:spMk id="22" creationId="{CF1DA471-2E33-4B5A-977B-363D1BD475CE}"/>
          </ac:spMkLst>
        </pc:spChg>
        <pc:spChg chg="mod">
          <ac:chgData name="Luis Moßburger" userId="2a606c2b-1031-4842-b567-351303c62b15" providerId="ADAL" clId="{734F8F77-5156-B642-A9F9-F092C68D293B}" dt="2024-01-17T17:58:48.196" v="978"/>
          <ac:spMkLst>
            <pc:docMk/>
            <pc:sldMk cId="1872937161" sldId="2147375424"/>
            <ac:spMk id="23" creationId="{08192EA9-F816-ED37-2E8B-59569464B305}"/>
          </ac:spMkLst>
        </pc:spChg>
        <pc:spChg chg="mod">
          <ac:chgData name="Luis Moßburger" userId="2a606c2b-1031-4842-b567-351303c62b15" providerId="ADAL" clId="{734F8F77-5156-B642-A9F9-F092C68D293B}" dt="2024-01-17T17:58:48.196" v="978"/>
          <ac:spMkLst>
            <pc:docMk/>
            <pc:sldMk cId="1872937161" sldId="2147375424"/>
            <ac:spMk id="24" creationId="{E4527DB2-6714-F36A-B250-979E2E5EB5B8}"/>
          </ac:spMkLst>
        </pc:spChg>
        <pc:spChg chg="mod">
          <ac:chgData name="Luis Moßburger" userId="2a606c2b-1031-4842-b567-351303c62b15" providerId="ADAL" clId="{734F8F77-5156-B642-A9F9-F092C68D293B}" dt="2024-01-17T17:58:48.196" v="978"/>
          <ac:spMkLst>
            <pc:docMk/>
            <pc:sldMk cId="1872937161" sldId="2147375424"/>
            <ac:spMk id="25" creationId="{A99D6FE1-D660-52A3-7A70-860F020B344F}"/>
          </ac:spMkLst>
        </pc:spChg>
        <pc:spChg chg="mod">
          <ac:chgData name="Luis Moßburger" userId="2a606c2b-1031-4842-b567-351303c62b15" providerId="ADAL" clId="{734F8F77-5156-B642-A9F9-F092C68D293B}" dt="2024-01-17T17:58:48.196" v="978"/>
          <ac:spMkLst>
            <pc:docMk/>
            <pc:sldMk cId="1872937161" sldId="2147375424"/>
            <ac:spMk id="26" creationId="{6EC7D5CF-579F-0B4A-5BE1-80FAA799B600}"/>
          </ac:spMkLst>
        </pc:spChg>
        <pc:spChg chg="mod">
          <ac:chgData name="Luis Moßburger" userId="2a606c2b-1031-4842-b567-351303c62b15" providerId="ADAL" clId="{734F8F77-5156-B642-A9F9-F092C68D293B}" dt="2024-01-17T17:58:48.196" v="978"/>
          <ac:spMkLst>
            <pc:docMk/>
            <pc:sldMk cId="1872937161" sldId="2147375424"/>
            <ac:spMk id="27" creationId="{CF1807B4-D7B3-AA9C-8438-1EF962440FA1}"/>
          </ac:spMkLst>
        </pc:spChg>
        <pc:spChg chg="mod">
          <ac:chgData name="Luis Moßburger" userId="2a606c2b-1031-4842-b567-351303c62b15" providerId="ADAL" clId="{734F8F77-5156-B642-A9F9-F092C68D293B}" dt="2024-01-17T17:58:48.196" v="978"/>
          <ac:spMkLst>
            <pc:docMk/>
            <pc:sldMk cId="1872937161" sldId="2147375424"/>
            <ac:spMk id="52" creationId="{52A1193A-816A-E370-4530-10A38E1721C0}"/>
          </ac:spMkLst>
        </pc:spChg>
        <pc:spChg chg="mod">
          <ac:chgData name="Luis Moßburger" userId="2a606c2b-1031-4842-b567-351303c62b15" providerId="ADAL" clId="{734F8F77-5156-B642-A9F9-F092C68D293B}" dt="2024-01-17T17:58:48.196" v="978"/>
          <ac:spMkLst>
            <pc:docMk/>
            <pc:sldMk cId="1872937161" sldId="2147375424"/>
            <ac:spMk id="53" creationId="{CA724659-29C7-958B-D6BF-2661827EEB42}"/>
          </ac:spMkLst>
        </pc:spChg>
        <pc:spChg chg="mod">
          <ac:chgData name="Luis Moßburger" userId="2a606c2b-1031-4842-b567-351303c62b15" providerId="ADAL" clId="{734F8F77-5156-B642-A9F9-F092C68D293B}" dt="2024-01-17T17:58:48.196" v="978"/>
          <ac:spMkLst>
            <pc:docMk/>
            <pc:sldMk cId="1872937161" sldId="2147375424"/>
            <ac:spMk id="54" creationId="{616D1882-66F2-FC9B-3D1E-970411ADE9A1}"/>
          </ac:spMkLst>
        </pc:spChg>
        <pc:spChg chg="mod">
          <ac:chgData name="Luis Moßburger" userId="2a606c2b-1031-4842-b567-351303c62b15" providerId="ADAL" clId="{734F8F77-5156-B642-A9F9-F092C68D293B}" dt="2024-01-17T17:58:48.196" v="978"/>
          <ac:spMkLst>
            <pc:docMk/>
            <pc:sldMk cId="1872937161" sldId="2147375424"/>
            <ac:spMk id="55" creationId="{160F49F3-7E3E-A1DF-0005-D9C206A412F4}"/>
          </ac:spMkLst>
        </pc:spChg>
        <pc:spChg chg="mod">
          <ac:chgData name="Luis Moßburger" userId="2a606c2b-1031-4842-b567-351303c62b15" providerId="ADAL" clId="{734F8F77-5156-B642-A9F9-F092C68D293B}" dt="2024-01-17T17:58:48.196" v="978"/>
          <ac:spMkLst>
            <pc:docMk/>
            <pc:sldMk cId="1872937161" sldId="2147375424"/>
            <ac:spMk id="56" creationId="{B0F281F6-32E4-880D-4547-71BC76C83944}"/>
          </ac:spMkLst>
        </pc:spChg>
        <pc:spChg chg="mod">
          <ac:chgData name="Luis Moßburger" userId="2a606c2b-1031-4842-b567-351303c62b15" providerId="ADAL" clId="{734F8F77-5156-B642-A9F9-F092C68D293B}" dt="2024-01-17T17:58:48.196" v="978"/>
          <ac:spMkLst>
            <pc:docMk/>
            <pc:sldMk cId="1872937161" sldId="2147375424"/>
            <ac:spMk id="57" creationId="{6363FF6A-5A86-5BB7-4736-1BE91EF538BD}"/>
          </ac:spMkLst>
        </pc:spChg>
        <pc:spChg chg="mod">
          <ac:chgData name="Luis Moßburger" userId="2a606c2b-1031-4842-b567-351303c62b15" providerId="ADAL" clId="{734F8F77-5156-B642-A9F9-F092C68D293B}" dt="2024-01-17T17:58:48.196" v="978"/>
          <ac:spMkLst>
            <pc:docMk/>
            <pc:sldMk cId="1872937161" sldId="2147375424"/>
            <ac:spMk id="58" creationId="{C5CDC928-6714-2D82-2F6E-9B880ADD6C32}"/>
          </ac:spMkLst>
        </pc:spChg>
        <pc:spChg chg="mod">
          <ac:chgData name="Luis Moßburger" userId="2a606c2b-1031-4842-b567-351303c62b15" providerId="ADAL" clId="{734F8F77-5156-B642-A9F9-F092C68D293B}" dt="2024-01-17T17:58:48.196" v="978"/>
          <ac:spMkLst>
            <pc:docMk/>
            <pc:sldMk cId="1872937161" sldId="2147375424"/>
            <ac:spMk id="59" creationId="{FDE280A9-3347-99EE-DCEC-8697EB9DE7EA}"/>
          </ac:spMkLst>
        </pc:spChg>
        <pc:spChg chg="mod">
          <ac:chgData name="Luis Moßburger" userId="2a606c2b-1031-4842-b567-351303c62b15" providerId="ADAL" clId="{734F8F77-5156-B642-A9F9-F092C68D293B}" dt="2024-01-17T17:58:48.196" v="978"/>
          <ac:spMkLst>
            <pc:docMk/>
            <pc:sldMk cId="1872937161" sldId="2147375424"/>
            <ac:spMk id="60" creationId="{41E113FA-8BE9-D909-BB22-8B15B17D5682}"/>
          </ac:spMkLst>
        </pc:spChg>
        <pc:spChg chg="mod">
          <ac:chgData name="Luis Moßburger" userId="2a606c2b-1031-4842-b567-351303c62b15" providerId="ADAL" clId="{734F8F77-5156-B642-A9F9-F092C68D293B}" dt="2024-01-17T17:58:48.196" v="978"/>
          <ac:spMkLst>
            <pc:docMk/>
            <pc:sldMk cId="1872937161" sldId="2147375424"/>
            <ac:spMk id="61" creationId="{98145435-FD7B-C0B7-9ED0-214DCE305D00}"/>
          </ac:spMkLst>
        </pc:spChg>
        <pc:spChg chg="mod">
          <ac:chgData name="Luis Moßburger" userId="2a606c2b-1031-4842-b567-351303c62b15" providerId="ADAL" clId="{734F8F77-5156-B642-A9F9-F092C68D293B}" dt="2024-01-17T17:58:48.196" v="978"/>
          <ac:spMkLst>
            <pc:docMk/>
            <pc:sldMk cId="1872937161" sldId="2147375424"/>
            <ac:spMk id="62" creationId="{95F89C56-4E63-BC84-8D2C-88D5D64C01AD}"/>
          </ac:spMkLst>
        </pc:spChg>
        <pc:spChg chg="mod">
          <ac:chgData name="Luis Moßburger" userId="2a606c2b-1031-4842-b567-351303c62b15" providerId="ADAL" clId="{734F8F77-5156-B642-A9F9-F092C68D293B}" dt="2024-01-17T17:58:48.196" v="978"/>
          <ac:spMkLst>
            <pc:docMk/>
            <pc:sldMk cId="1872937161" sldId="2147375424"/>
            <ac:spMk id="63" creationId="{C1D978DE-9A13-CE26-3F7C-20D2FB223BC1}"/>
          </ac:spMkLst>
        </pc:spChg>
        <pc:spChg chg="mod">
          <ac:chgData name="Luis Moßburger" userId="2a606c2b-1031-4842-b567-351303c62b15" providerId="ADAL" clId="{734F8F77-5156-B642-A9F9-F092C68D293B}" dt="2024-01-17T17:58:48.196" v="978"/>
          <ac:spMkLst>
            <pc:docMk/>
            <pc:sldMk cId="1872937161" sldId="2147375424"/>
            <ac:spMk id="64" creationId="{F84E1979-7735-4FE3-E7CE-1963A7DB5E23}"/>
          </ac:spMkLst>
        </pc:spChg>
        <pc:spChg chg="mod">
          <ac:chgData name="Luis Moßburger" userId="2a606c2b-1031-4842-b567-351303c62b15" providerId="ADAL" clId="{734F8F77-5156-B642-A9F9-F092C68D293B}" dt="2024-01-17T17:58:48.196" v="978"/>
          <ac:spMkLst>
            <pc:docMk/>
            <pc:sldMk cId="1872937161" sldId="2147375424"/>
            <ac:spMk id="65" creationId="{18C8D137-CE8A-2986-8123-87B068C73917}"/>
          </ac:spMkLst>
        </pc:spChg>
        <pc:grpChg chg="add del mod">
          <ac:chgData name="Luis Moßburger" userId="2a606c2b-1031-4842-b567-351303c62b15" providerId="ADAL" clId="{734F8F77-5156-B642-A9F9-F092C68D293B}" dt="2024-01-17T18:00:23.032" v="1116" actId="478"/>
          <ac:grpSpMkLst>
            <pc:docMk/>
            <pc:sldMk cId="1872937161" sldId="2147375424"/>
            <ac:grpSpMk id="16" creationId="{35B802E2-FC02-F44C-2829-8C47D6C23049}"/>
          </ac:grpSpMkLst>
        </pc:grpChg>
        <pc:grpChg chg="mod topLvl">
          <ac:chgData name="Luis Moßburger" userId="2a606c2b-1031-4842-b567-351303c62b15" providerId="ADAL" clId="{734F8F77-5156-B642-A9F9-F092C68D293B}" dt="2024-01-17T18:01:54.436" v="1223" actId="1038"/>
          <ac:grpSpMkLst>
            <pc:docMk/>
            <pc:sldMk cId="1872937161" sldId="2147375424"/>
            <ac:grpSpMk id="18" creationId="{7E514891-F0C1-ABA7-0D9C-A53F90F406F1}"/>
          </ac:grpSpMkLst>
        </pc:grpChg>
        <pc:grpChg chg="del">
          <ac:chgData name="Luis Moßburger" userId="2a606c2b-1031-4842-b567-351303c62b15" providerId="ADAL" clId="{734F8F77-5156-B642-A9F9-F092C68D293B}" dt="2024-01-17T17:56:01.887" v="958" actId="478"/>
          <ac:grpSpMkLst>
            <pc:docMk/>
            <pc:sldMk cId="1872937161" sldId="2147375424"/>
            <ac:grpSpMk id="28" creationId="{B5D572D6-AB36-0CE1-19DB-3EF0770E7292}"/>
          </ac:grpSpMkLst>
        </pc:grpChg>
        <pc:picChg chg="add mod">
          <ac:chgData name="Luis Moßburger" userId="2a606c2b-1031-4842-b567-351303c62b15" providerId="ADAL" clId="{734F8F77-5156-B642-A9F9-F092C68D293B}" dt="2024-01-17T18:02:15.972" v="1229" actId="1076"/>
          <ac:picMkLst>
            <pc:docMk/>
            <pc:sldMk cId="1872937161" sldId="2147375424"/>
            <ac:picMk id="4" creationId="{EEAC48BA-37C4-A627-7C9E-F1FD093C01B3}"/>
          </ac:picMkLst>
        </pc:picChg>
        <pc:picChg chg="add mod">
          <ac:chgData name="Luis Moßburger" userId="2a606c2b-1031-4842-b567-351303c62b15" providerId="ADAL" clId="{734F8F77-5156-B642-A9F9-F092C68D293B}" dt="2024-01-17T18:02:15.972" v="1229" actId="1076"/>
          <ac:picMkLst>
            <pc:docMk/>
            <pc:sldMk cId="1872937161" sldId="2147375424"/>
            <ac:picMk id="8" creationId="{0ED67CA9-62B5-01F8-8444-D1B2E9B45D93}"/>
          </ac:picMkLst>
        </pc:picChg>
        <pc:picChg chg="add del mod">
          <ac:chgData name="Luis Moßburger" userId="2a606c2b-1031-4842-b567-351303c62b15" providerId="ADAL" clId="{734F8F77-5156-B642-A9F9-F092C68D293B}" dt="2024-01-17T17:58:44.742" v="977" actId="478"/>
          <ac:picMkLst>
            <pc:docMk/>
            <pc:sldMk cId="1872937161" sldId="2147375424"/>
            <ac:picMk id="13" creationId="{D08E1D33-9A2C-29CA-EC16-B59120092D95}"/>
          </ac:picMkLst>
        </pc:picChg>
        <pc:picChg chg="del mod topLvl">
          <ac:chgData name="Luis Moßburger" userId="2a606c2b-1031-4842-b567-351303c62b15" providerId="ADAL" clId="{734F8F77-5156-B642-A9F9-F092C68D293B}" dt="2024-01-17T18:00:23.032" v="1116" actId="478"/>
          <ac:picMkLst>
            <pc:docMk/>
            <pc:sldMk cId="1872937161" sldId="2147375424"/>
            <ac:picMk id="17" creationId="{CF9B22D1-1795-E53C-75A8-66FAB91715A1}"/>
          </ac:picMkLst>
        </pc:picChg>
        <pc:picChg chg="add mod modCrop">
          <ac:chgData name="Luis Moßburger" userId="2a606c2b-1031-4842-b567-351303c62b15" providerId="ADAL" clId="{734F8F77-5156-B642-A9F9-F092C68D293B}" dt="2024-01-17T18:01:54.436" v="1223" actId="1038"/>
          <ac:picMkLst>
            <pc:docMk/>
            <pc:sldMk cId="1872937161" sldId="2147375424"/>
            <ac:picMk id="66" creationId="{734293CA-A851-E983-DA32-7082E4031101}"/>
          </ac:picMkLst>
        </pc:picChg>
      </pc:sldChg>
      <pc:sldChg chg="del">
        <pc:chgData name="Luis Moßburger" userId="2a606c2b-1031-4842-b567-351303c62b15" providerId="ADAL" clId="{734F8F77-5156-B642-A9F9-F092C68D293B}" dt="2024-01-17T17:39:46.759" v="21" actId="2696"/>
        <pc:sldMkLst>
          <pc:docMk/>
          <pc:sldMk cId="1924204732" sldId="2147375424"/>
        </pc:sldMkLst>
      </pc:sldChg>
      <pc:sldChg chg="del">
        <pc:chgData name="Luis Moßburger" userId="2a606c2b-1031-4842-b567-351303c62b15" providerId="ADAL" clId="{734F8F77-5156-B642-A9F9-F092C68D293B}" dt="2024-01-17T17:39:46.787" v="25" actId="2696"/>
        <pc:sldMkLst>
          <pc:docMk/>
          <pc:sldMk cId="100890757" sldId="2147375425"/>
        </pc:sldMkLst>
      </pc:sldChg>
      <pc:sldChg chg="delSp modSp add mod ord">
        <pc:chgData name="Luis Moßburger" userId="2a606c2b-1031-4842-b567-351303c62b15" providerId="ADAL" clId="{734F8F77-5156-B642-A9F9-F092C68D293B}" dt="2024-01-18T09:03:53.569" v="1243" actId="20577"/>
        <pc:sldMkLst>
          <pc:docMk/>
          <pc:sldMk cId="4102511743" sldId="2147375425"/>
        </pc:sldMkLst>
        <pc:spChg chg="mod">
          <ac:chgData name="Luis Moßburger" userId="2a606c2b-1031-4842-b567-351303c62b15" providerId="ADAL" clId="{734F8F77-5156-B642-A9F9-F092C68D293B}" dt="2024-01-17T17:55:40.329" v="952" actId="20577"/>
          <ac:spMkLst>
            <pc:docMk/>
            <pc:sldMk cId="4102511743" sldId="2147375425"/>
            <ac:spMk id="4" creationId="{238C3D29-A1DB-3BE0-C088-2F4CAC92AA4D}"/>
          </ac:spMkLst>
        </pc:spChg>
        <pc:spChg chg="mod">
          <ac:chgData name="Luis Moßburger" userId="2a606c2b-1031-4842-b567-351303c62b15" providerId="ADAL" clId="{734F8F77-5156-B642-A9F9-F092C68D293B}" dt="2024-01-18T09:03:53.569" v="1243" actId="20577"/>
          <ac:spMkLst>
            <pc:docMk/>
            <pc:sldMk cId="4102511743" sldId="2147375425"/>
            <ac:spMk id="5" creationId="{079C4434-0496-53DB-0A7D-89E502F81B8E}"/>
          </ac:spMkLst>
        </pc:spChg>
        <pc:picChg chg="del">
          <ac:chgData name="Luis Moßburger" userId="2a606c2b-1031-4842-b567-351303c62b15" providerId="ADAL" clId="{734F8F77-5156-B642-A9F9-F092C68D293B}" dt="2024-01-17T17:55:42.831" v="953" actId="478"/>
          <ac:picMkLst>
            <pc:docMk/>
            <pc:sldMk cId="4102511743" sldId="2147375425"/>
            <ac:picMk id="7" creationId="{1B00450A-6DB2-4E2C-455E-57FB5152AC32}"/>
          </ac:picMkLst>
        </pc:picChg>
      </pc:sldChg>
      <pc:sldChg chg="del">
        <pc:chgData name="Luis Moßburger" userId="2a606c2b-1031-4842-b567-351303c62b15" providerId="ADAL" clId="{734F8F77-5156-B642-A9F9-F092C68D293B}" dt="2024-01-17T17:39:51.091" v="28" actId="2696"/>
        <pc:sldMkLst>
          <pc:docMk/>
          <pc:sldMk cId="3977439176" sldId="2147375426"/>
        </pc:sldMkLst>
      </pc:sldChg>
    </pc:docChg>
  </pc:docChgLst>
  <pc:docChgLst>
    <pc:chgData name="Petra Oelfke" userId="S::petra.oelfke@byte.bayern::530454f5-7791-4a48-a1df-32207e7ce444" providerId="AD" clId="Web-{5848E5C6-A90F-20BC-B1E0-EBF6C06007DD}"/>
    <pc:docChg chg="addSld modSection">
      <pc:chgData name="Petra Oelfke" userId="S::petra.oelfke@byte.bayern::530454f5-7791-4a48-a1df-32207e7ce444" providerId="AD" clId="Web-{5848E5C6-A90F-20BC-B1E0-EBF6C06007DD}" dt="2024-01-04T16:43:52.471" v="0"/>
      <pc:docMkLst>
        <pc:docMk/>
      </pc:docMkLst>
      <pc:sldChg chg="add">
        <pc:chgData name="Petra Oelfke" userId="S::petra.oelfke@byte.bayern::530454f5-7791-4a48-a1df-32207e7ce444" providerId="AD" clId="Web-{5848E5C6-A90F-20BC-B1E0-EBF6C06007DD}" dt="2024-01-04T16:43:52.471" v="0"/>
        <pc:sldMkLst>
          <pc:docMk/>
          <pc:sldMk cId="3977439176" sldId="214737542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995ADBD-D400-D604-AB10-3147FC887C02}"/>
              </a:ext>
            </a:extLst>
          </p:cNvPr>
          <p:cNvSpPr>
            <a:spLocks noGrp="1"/>
          </p:cNvSpPr>
          <p:nvPr>
            <p:ph type="hdr" sz="quarter"/>
          </p:nvPr>
        </p:nvSpPr>
        <p:spPr>
          <a:xfrm>
            <a:off x="457200" y="432486"/>
            <a:ext cx="2838450" cy="153888"/>
          </a:xfrm>
          <a:prstGeom prst="rect">
            <a:avLst/>
          </a:prstGeom>
        </p:spPr>
        <p:txBody>
          <a:bodyPr vert="horz" wrap="square" lIns="0" tIns="0" rIns="0" bIns="0" rtlCol="0">
            <a:spAutoFit/>
          </a:bodyPr>
          <a:lstStyle>
            <a:lvl1pPr algn="l">
              <a:defRPr sz="1200"/>
            </a:lvl1pPr>
          </a:lstStyle>
          <a:p>
            <a:endParaRPr lang="de-DE" sz="1000"/>
          </a:p>
        </p:txBody>
      </p:sp>
      <p:sp>
        <p:nvSpPr>
          <p:cNvPr id="3" name="Datumsplatzhalter 2">
            <a:extLst>
              <a:ext uri="{FF2B5EF4-FFF2-40B4-BE49-F238E27FC236}">
                <a16:creationId xmlns:a16="http://schemas.microsoft.com/office/drawing/2014/main" id="{C462A914-A028-E08F-FE16-F56EA6405EC2}"/>
              </a:ext>
            </a:extLst>
          </p:cNvPr>
          <p:cNvSpPr>
            <a:spLocks noGrp="1"/>
          </p:cNvSpPr>
          <p:nvPr>
            <p:ph type="dt" sz="quarter" idx="1"/>
          </p:nvPr>
        </p:nvSpPr>
        <p:spPr>
          <a:xfrm>
            <a:off x="3562350" y="432486"/>
            <a:ext cx="2838450" cy="153888"/>
          </a:xfrm>
          <a:prstGeom prst="rect">
            <a:avLst/>
          </a:prstGeom>
        </p:spPr>
        <p:txBody>
          <a:bodyPr vert="horz" wrap="square" lIns="0" tIns="0" rIns="0" bIns="0" rtlCol="0">
            <a:spAutoFit/>
          </a:bodyPr>
          <a:lstStyle>
            <a:lvl1pPr algn="r">
              <a:defRPr sz="1200"/>
            </a:lvl1pPr>
          </a:lstStyle>
          <a:p>
            <a:fld id="{2102F90E-6A06-4B00-9E5E-A3DD858D8CA5}" type="datetimeFigureOut">
              <a:rPr lang="de-DE" sz="1000" smtClean="0"/>
              <a:t>18.01.24</a:t>
            </a:fld>
            <a:endParaRPr lang="de-DE" sz="1000"/>
          </a:p>
        </p:txBody>
      </p:sp>
      <p:sp>
        <p:nvSpPr>
          <p:cNvPr id="4" name="Fußzeilenplatzhalter 3">
            <a:extLst>
              <a:ext uri="{FF2B5EF4-FFF2-40B4-BE49-F238E27FC236}">
                <a16:creationId xmlns:a16="http://schemas.microsoft.com/office/drawing/2014/main" id="{CB47B4E2-818F-AB64-C44F-664EE352B16F}"/>
              </a:ext>
            </a:extLst>
          </p:cNvPr>
          <p:cNvSpPr>
            <a:spLocks noGrp="1"/>
          </p:cNvSpPr>
          <p:nvPr>
            <p:ph type="ftr" sz="quarter" idx="2"/>
          </p:nvPr>
        </p:nvSpPr>
        <p:spPr>
          <a:xfrm>
            <a:off x="457200" y="8649959"/>
            <a:ext cx="2838450" cy="153888"/>
          </a:xfrm>
          <a:prstGeom prst="rect">
            <a:avLst/>
          </a:prstGeom>
        </p:spPr>
        <p:txBody>
          <a:bodyPr vert="horz" wrap="square" lIns="0" tIns="0" rIns="0" bIns="0" rtlCol="0" anchor="b">
            <a:spAutoFit/>
          </a:bodyPr>
          <a:lstStyle>
            <a:lvl1pPr algn="l">
              <a:defRPr sz="1200"/>
            </a:lvl1pPr>
          </a:lstStyle>
          <a:p>
            <a:endParaRPr lang="de-DE" sz="1000"/>
          </a:p>
        </p:txBody>
      </p:sp>
      <p:sp>
        <p:nvSpPr>
          <p:cNvPr id="5" name="Foliennummernplatzhalter 4">
            <a:extLst>
              <a:ext uri="{FF2B5EF4-FFF2-40B4-BE49-F238E27FC236}">
                <a16:creationId xmlns:a16="http://schemas.microsoft.com/office/drawing/2014/main" id="{013526E9-B876-1557-2F34-81E94DFA77EA}"/>
              </a:ext>
            </a:extLst>
          </p:cNvPr>
          <p:cNvSpPr>
            <a:spLocks noGrp="1"/>
          </p:cNvSpPr>
          <p:nvPr>
            <p:ph type="sldNum" sz="quarter" idx="3"/>
          </p:nvPr>
        </p:nvSpPr>
        <p:spPr>
          <a:xfrm>
            <a:off x="3562350" y="8649959"/>
            <a:ext cx="2838450" cy="153888"/>
          </a:xfrm>
          <a:prstGeom prst="rect">
            <a:avLst/>
          </a:prstGeom>
        </p:spPr>
        <p:txBody>
          <a:bodyPr vert="horz" wrap="square" lIns="0" tIns="0" rIns="0" bIns="0" rtlCol="0" anchor="b">
            <a:spAutoFit/>
          </a:bodyPr>
          <a:lstStyle>
            <a:lvl1pPr algn="r">
              <a:defRPr sz="1200"/>
            </a:lvl1pPr>
          </a:lstStyle>
          <a:p>
            <a:fld id="{5902BDDD-1A9B-4389-ACE5-814DC1314B68}" type="slidenum">
              <a:rPr lang="de-DE" sz="1000" smtClean="0"/>
              <a:t>‹Nr.›</a:t>
            </a:fld>
            <a:endParaRPr lang="de-DE" sz="1000"/>
          </a:p>
        </p:txBody>
      </p:sp>
    </p:spTree>
    <p:extLst>
      <p:ext uri="{BB962C8B-B14F-4D97-AF65-F5344CB8AC3E}">
        <p14:creationId xmlns:p14="http://schemas.microsoft.com/office/powerpoint/2010/main" val="226411631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685800" y="333632"/>
            <a:ext cx="4267200" cy="153888"/>
          </a:xfrm>
          <a:prstGeom prst="rect">
            <a:avLst/>
          </a:prstGeom>
        </p:spPr>
        <p:txBody>
          <a:bodyPr vert="horz" wrap="square" lIns="0" tIns="0" rIns="0" bIns="0" rtlCol="0">
            <a:spAutoFit/>
          </a:bodyPr>
          <a:lstStyle>
            <a:lvl1pPr algn="l">
              <a:defRPr sz="1000"/>
            </a:lvl1pPr>
          </a:lstStyle>
          <a:p>
            <a:endParaRPr lang="de-DE"/>
          </a:p>
        </p:txBody>
      </p:sp>
      <p:sp>
        <p:nvSpPr>
          <p:cNvPr id="3" name="Datumsplatzhalter 2"/>
          <p:cNvSpPr>
            <a:spLocks noGrp="1"/>
          </p:cNvSpPr>
          <p:nvPr>
            <p:ph type="dt" idx="1"/>
          </p:nvPr>
        </p:nvSpPr>
        <p:spPr>
          <a:xfrm>
            <a:off x="5448300" y="333632"/>
            <a:ext cx="723900" cy="153888"/>
          </a:xfrm>
          <a:prstGeom prst="rect">
            <a:avLst/>
          </a:prstGeom>
        </p:spPr>
        <p:txBody>
          <a:bodyPr vert="horz" wrap="square" lIns="0" tIns="0" rIns="0" bIns="0" rtlCol="0">
            <a:spAutoFit/>
          </a:bodyPr>
          <a:lstStyle>
            <a:lvl1pPr algn="r">
              <a:defRPr sz="1000"/>
            </a:lvl1pPr>
          </a:lstStyle>
          <a:p>
            <a:fld id="{49B7D7BB-EECE-4A74-A2A5-731D570D35E7}" type="datetimeFigureOut">
              <a:rPr lang="de-DE" smtClean="0"/>
              <a:pPr/>
              <a:t>18.01.24</a:t>
            </a:fld>
            <a:endParaRPr lang="de-DE"/>
          </a:p>
        </p:txBody>
      </p:sp>
      <p:sp>
        <p:nvSpPr>
          <p:cNvPr id="4" name="Folienbildplatzhalter 3"/>
          <p:cNvSpPr>
            <a:spLocks noGrp="1" noRot="1" noChangeAspect="1"/>
          </p:cNvSpPr>
          <p:nvPr>
            <p:ph type="sldImg" idx="2"/>
          </p:nvPr>
        </p:nvSpPr>
        <p:spPr>
          <a:xfrm>
            <a:off x="1174750" y="1023938"/>
            <a:ext cx="4508500" cy="25368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3807425"/>
            <a:ext cx="5486400" cy="984885"/>
          </a:xfrm>
          <a:prstGeom prst="rect">
            <a:avLst/>
          </a:prstGeom>
        </p:spPr>
        <p:txBody>
          <a:bodyPr vert="horz" lIns="0" tIns="0" rIns="0" bIns="0" rtlCol="0">
            <a:spAutoFit/>
          </a:bodyPr>
          <a:lstStyle/>
          <a:p>
            <a:pPr lvl="0"/>
            <a:r>
              <a:rPr lang="de-DE"/>
              <a:t>Mastertextformat bearbeiten</a:t>
            </a:r>
          </a:p>
          <a:p>
            <a:pPr lvl="1"/>
            <a:r>
              <a:rPr lang="de-DE"/>
              <a:t>Zweite Ebene</a:t>
            </a:r>
          </a:p>
          <a:p>
            <a:pPr lvl="2"/>
            <a:r>
              <a:rPr lang="de-DE"/>
              <a:t>Dritte Ebene</a:t>
            </a:r>
          </a:p>
          <a:p>
            <a:pPr lvl="3"/>
            <a:r>
              <a:rPr lang="de-DE"/>
              <a:t>Vierte Ebene</a:t>
            </a:r>
          </a:p>
        </p:txBody>
      </p:sp>
      <p:sp>
        <p:nvSpPr>
          <p:cNvPr id="6" name="Fußzeilenplatzhalter 5"/>
          <p:cNvSpPr>
            <a:spLocks noGrp="1"/>
          </p:cNvSpPr>
          <p:nvPr>
            <p:ph type="ftr" sz="quarter" idx="4"/>
          </p:nvPr>
        </p:nvSpPr>
        <p:spPr>
          <a:xfrm>
            <a:off x="685799" y="8748813"/>
            <a:ext cx="3967163" cy="153888"/>
          </a:xfrm>
          <a:prstGeom prst="rect">
            <a:avLst/>
          </a:prstGeom>
        </p:spPr>
        <p:txBody>
          <a:bodyPr vert="horz" wrap="square" lIns="0" tIns="0" rIns="0" bIns="0" rtlCol="0" anchor="b">
            <a:spAutoFit/>
          </a:bodyPr>
          <a:lstStyle>
            <a:lvl1pPr algn="l">
              <a:defRPr sz="1000"/>
            </a:lvl1pPr>
          </a:lstStyle>
          <a:p>
            <a:endParaRPr lang="de-DE"/>
          </a:p>
        </p:txBody>
      </p:sp>
      <p:sp>
        <p:nvSpPr>
          <p:cNvPr id="7" name="Foliennummernplatzhalter 6"/>
          <p:cNvSpPr>
            <a:spLocks noGrp="1"/>
          </p:cNvSpPr>
          <p:nvPr>
            <p:ph type="sldNum" sz="quarter" idx="5"/>
          </p:nvPr>
        </p:nvSpPr>
        <p:spPr>
          <a:xfrm>
            <a:off x="4953000" y="8748813"/>
            <a:ext cx="1219200" cy="153888"/>
          </a:xfrm>
          <a:prstGeom prst="rect">
            <a:avLst/>
          </a:prstGeom>
        </p:spPr>
        <p:txBody>
          <a:bodyPr vert="horz" wrap="square" lIns="0" tIns="0" rIns="0" bIns="0" rtlCol="0" anchor="b">
            <a:spAutoFit/>
          </a:bodyPr>
          <a:lstStyle>
            <a:lvl1pPr algn="r">
              <a:defRPr sz="1000"/>
            </a:lvl1pPr>
          </a:lstStyle>
          <a:p>
            <a:r>
              <a:rPr lang="de-DE"/>
              <a:t>Seite </a:t>
            </a:r>
            <a:fld id="{9C2FA266-7C8B-4E4F-B1B9-A87194975045}" type="slidenum">
              <a:rPr lang="de-DE" smtClean="0"/>
              <a:pPr/>
              <a:t>‹Nr.›</a:t>
            </a:fld>
            <a:endParaRPr lang="de-DE"/>
          </a:p>
        </p:txBody>
      </p:sp>
    </p:spTree>
    <p:extLst>
      <p:ext uri="{BB962C8B-B14F-4D97-AF65-F5344CB8AC3E}">
        <p14:creationId xmlns:p14="http://schemas.microsoft.com/office/powerpoint/2010/main" val="2027630940"/>
      </p:ext>
    </p:extLst>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mn-lt"/>
        <a:ea typeface="+mn-ea"/>
        <a:cs typeface="+mn-cs"/>
      </a:defRPr>
    </a:lvl1pPr>
    <a:lvl2pPr marL="177800" indent="-171450" algn="l" defTabSz="914400" rtl="0" eaLnBrk="1" latinLnBrk="0" hangingPunct="1">
      <a:buFont typeface="Untitled Sans Light" panose="020B0303030202060203" pitchFamily="34" charset="0"/>
      <a:buChar char="-"/>
      <a:defRPr sz="1600" kern="1200">
        <a:solidFill>
          <a:schemeClr val="tx1"/>
        </a:solidFill>
        <a:latin typeface="+mn-lt"/>
        <a:ea typeface="+mn-ea"/>
        <a:cs typeface="+mn-cs"/>
      </a:defRPr>
    </a:lvl2pPr>
    <a:lvl3pPr marL="361950" indent="-171450" algn="l" defTabSz="914400" rtl="0" eaLnBrk="1" latinLnBrk="0" hangingPunct="1">
      <a:buFont typeface="Arial" panose="020B0604020202020204" pitchFamily="34" charset="0"/>
      <a:buChar char="•"/>
      <a:defRPr sz="1600" kern="1200">
        <a:solidFill>
          <a:schemeClr val="tx1"/>
        </a:solidFill>
        <a:latin typeface="+mn-lt"/>
        <a:ea typeface="+mn-ea"/>
        <a:cs typeface="+mn-cs"/>
      </a:defRPr>
    </a:lvl3pPr>
    <a:lvl4pPr marL="539750" indent="-171450" algn="l" defTabSz="914400" rtl="0" eaLnBrk="1" latinLnBrk="0" hangingPunct="1">
      <a:buFont typeface="Wingdings" panose="05000000000000000000" pitchFamily="2" charset="2"/>
      <a:buChar char="§"/>
      <a:defRPr sz="1600" kern="1200">
        <a:solidFill>
          <a:schemeClr val="tx1"/>
        </a:solidFill>
        <a:latin typeface="+mn-lt"/>
        <a:ea typeface="+mn-ea"/>
        <a:cs typeface="+mn-cs"/>
      </a:defRPr>
    </a:lvl4pPr>
    <a:lvl5pPr marL="20002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0" y="1023938"/>
            <a:ext cx="4508500" cy="25368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de-DE"/>
              <a:t>Seite </a:t>
            </a:r>
            <a:fld id="{9C2FA266-7C8B-4E4F-B1B9-A87194975045}" type="slidenum">
              <a:rPr lang="de-DE" smtClean="0"/>
              <a:pPr/>
              <a:t>1</a:t>
            </a:fld>
            <a:endParaRPr lang="de-DE"/>
          </a:p>
        </p:txBody>
      </p:sp>
    </p:spTree>
    <p:extLst>
      <p:ext uri="{BB962C8B-B14F-4D97-AF65-F5344CB8AC3E}">
        <p14:creationId xmlns:p14="http://schemas.microsoft.com/office/powerpoint/2010/main" val="313920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0" y="1023938"/>
            <a:ext cx="4508500" cy="25368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de-DE"/>
              <a:t>Seite </a:t>
            </a:r>
            <a:fld id="{9C2FA266-7C8B-4E4F-B1B9-A87194975045}" type="slidenum">
              <a:rPr lang="de-DE" smtClean="0"/>
              <a:pPr/>
              <a:t>2</a:t>
            </a:fld>
            <a:endParaRPr lang="de-DE"/>
          </a:p>
        </p:txBody>
      </p:sp>
    </p:spTree>
    <p:extLst>
      <p:ext uri="{BB962C8B-B14F-4D97-AF65-F5344CB8AC3E}">
        <p14:creationId xmlns:p14="http://schemas.microsoft.com/office/powerpoint/2010/main" val="2704099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0" y="1023938"/>
            <a:ext cx="4508500" cy="25368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de-DE"/>
              <a:t>Seite </a:t>
            </a:r>
            <a:fld id="{9C2FA266-7C8B-4E4F-B1B9-A87194975045}" type="slidenum">
              <a:rPr lang="de-DE" smtClean="0"/>
              <a:pPr/>
              <a:t>3</a:t>
            </a:fld>
            <a:endParaRPr lang="de-DE"/>
          </a:p>
        </p:txBody>
      </p:sp>
    </p:spTree>
    <p:extLst>
      <p:ext uri="{BB962C8B-B14F-4D97-AF65-F5344CB8AC3E}">
        <p14:creationId xmlns:p14="http://schemas.microsoft.com/office/powerpoint/2010/main" val="4050877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0" y="1023938"/>
            <a:ext cx="4508500" cy="25368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de-DE"/>
              <a:t>Seite </a:t>
            </a:r>
            <a:fld id="{9C2FA266-7C8B-4E4F-B1B9-A87194975045}" type="slidenum">
              <a:rPr lang="de-DE" smtClean="0"/>
              <a:pPr/>
              <a:t>5</a:t>
            </a:fld>
            <a:endParaRPr lang="de-DE"/>
          </a:p>
        </p:txBody>
      </p:sp>
    </p:spTree>
    <p:extLst>
      <p:ext uri="{BB962C8B-B14F-4D97-AF65-F5344CB8AC3E}">
        <p14:creationId xmlns:p14="http://schemas.microsoft.com/office/powerpoint/2010/main" val="12479889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0" y="1023938"/>
            <a:ext cx="4508500" cy="25368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de-DE"/>
              <a:t>Seite </a:t>
            </a:r>
            <a:fld id="{9C2FA266-7C8B-4E4F-B1B9-A87194975045}" type="slidenum">
              <a:rPr lang="de-DE" smtClean="0"/>
              <a:pPr/>
              <a:t>7</a:t>
            </a:fld>
            <a:endParaRPr lang="de-DE"/>
          </a:p>
        </p:txBody>
      </p:sp>
    </p:spTree>
    <p:extLst>
      <p:ext uri="{BB962C8B-B14F-4D97-AF65-F5344CB8AC3E}">
        <p14:creationId xmlns:p14="http://schemas.microsoft.com/office/powerpoint/2010/main" val="1513714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74750" y="1023938"/>
            <a:ext cx="4508500" cy="25368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r>
              <a:rPr lang="de-DE"/>
              <a:t>Seite </a:t>
            </a:r>
            <a:fld id="{9C2FA266-7C8B-4E4F-B1B9-A87194975045}" type="slidenum">
              <a:rPr lang="de-DE" smtClean="0"/>
              <a:pPr/>
              <a:t>9</a:t>
            </a:fld>
            <a:endParaRPr lang="de-DE"/>
          </a:p>
        </p:txBody>
      </p:sp>
    </p:spTree>
    <p:extLst>
      <p:ext uri="{BB962C8B-B14F-4D97-AF65-F5344CB8AC3E}">
        <p14:creationId xmlns:p14="http://schemas.microsoft.com/office/powerpoint/2010/main" val="238142511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4.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2.emf"/><Relationship Id="rId9" Type="http://schemas.openxmlformats.org/officeDocument/2006/relationships/image" Target="../media/image10.sv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hyperlink" Target="https://www.byte.bayern/" TargetMode="External"/><Relationship Id="rId2" Type="http://schemas.openxmlformats.org/officeDocument/2006/relationships/hyperlink" Target="mailto:kontakt@byte.bayern" TargetMode="External"/><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svg"/><Relationship Id="rId7"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hyperlink" Target="https://www.byte.bayern/" TargetMode="External"/><Relationship Id="rId4" Type="http://schemas.openxmlformats.org/officeDocument/2006/relationships/hyperlink" Target="mailto:kontakt@byte.bayern" TargetMode="Externa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4.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4.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0.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4.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16.sv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E7C1F37D-53E1-FECE-AF3E-DDD8675CC25E}"/>
              </a:ext>
            </a:extLst>
          </p:cNvPr>
          <p:cNvGraphicFramePr>
            <a:graphicFrameLocks noChangeAspect="1"/>
          </p:cNvGraphicFramePr>
          <p:nvPr userDrawn="1">
            <p:custDataLst>
              <p:tags r:id="rId1"/>
            </p:custDataLst>
            <p:extLst>
              <p:ext uri="{D42A27DB-BD31-4B8C-83A1-F6EECF244321}">
                <p14:modId xmlns:p14="http://schemas.microsoft.com/office/powerpoint/2010/main" val="2513346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Object 15" hidden="1">
                        <a:extLst>
                          <a:ext uri="{FF2B5EF4-FFF2-40B4-BE49-F238E27FC236}">
                            <a16:creationId xmlns:a16="http://schemas.microsoft.com/office/drawing/2014/main" id="{E7C1F37D-53E1-FECE-AF3E-DDD8675CC25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Gradient">
            <a:extLst>
              <a:ext uri="{FF2B5EF4-FFF2-40B4-BE49-F238E27FC236}">
                <a16:creationId xmlns:a16="http://schemas.microsoft.com/office/drawing/2014/main" id="{BB6E8611-97C2-C7D0-130F-28525574C84F}"/>
              </a:ext>
            </a:extLst>
          </p:cNvPr>
          <p:cNvSpPr/>
          <p:nvPr userDrawn="1"/>
        </p:nvSpPr>
        <p:spPr>
          <a:xfrm>
            <a:off x="0" y="1844678"/>
            <a:ext cx="12192000" cy="3563936"/>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tx1"/>
              </a:solidFill>
            </a:endParaRPr>
          </a:p>
        </p:txBody>
      </p:sp>
      <p:pic>
        <p:nvPicPr>
          <p:cNvPr id="5" name="Hero Bild" descr="A person sitting at a desk with a computer&#10;&#10;Description automatically generated">
            <a:extLst>
              <a:ext uri="{FF2B5EF4-FFF2-40B4-BE49-F238E27FC236}">
                <a16:creationId xmlns:a16="http://schemas.microsoft.com/office/drawing/2014/main" id="{19F8B90B-C3EA-0372-D4EC-7D1443AC4199}"/>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8041" t="5222" r="283"/>
          <a:stretch/>
        </p:blipFill>
        <p:spPr>
          <a:xfrm>
            <a:off x="7191375" y="1447800"/>
            <a:ext cx="5000626" cy="3961708"/>
          </a:xfrm>
          <a:prstGeom prst="rect">
            <a:avLst/>
          </a:prstGeom>
        </p:spPr>
      </p:pic>
      <p:sp>
        <p:nvSpPr>
          <p:cNvPr id="9" name="Unterüberschrift">
            <a:extLst>
              <a:ext uri="{FF2B5EF4-FFF2-40B4-BE49-F238E27FC236}">
                <a16:creationId xmlns:a16="http://schemas.microsoft.com/office/drawing/2014/main" id="{3A149770-B70E-9FEA-6657-938E2B131F5A}"/>
              </a:ext>
            </a:extLst>
          </p:cNvPr>
          <p:cNvSpPr>
            <a:spLocks noGrp="1"/>
          </p:cNvSpPr>
          <p:nvPr>
            <p:ph type="body" sz="quarter" idx="11" hasCustomPrompt="1"/>
          </p:nvPr>
        </p:nvSpPr>
        <p:spPr>
          <a:xfrm>
            <a:off x="536575" y="4023459"/>
            <a:ext cx="5416550" cy="189667"/>
          </a:xfrm>
          <a:prstGeom prst="rect">
            <a:avLst/>
          </a:prstGeom>
        </p:spPr>
        <p:txBody>
          <a:bodyPr wrap="square" lIns="18000" tIns="0" rIns="0" bIns="0" anchor="t">
            <a:spAutoFit/>
          </a:bodyPr>
          <a:lstStyle>
            <a:lvl1pPr>
              <a:defRPr sz="1100">
                <a:solidFill>
                  <a:schemeClr val="bg1"/>
                </a:solidFill>
                <a:latin typeface="+mj-lt"/>
              </a:defRPr>
            </a:lvl1pPr>
            <a:lvl2pPr marL="0" indent="0">
              <a:buNone/>
              <a:defRPr/>
            </a:lvl2pPr>
          </a:lstStyle>
          <a:p>
            <a:pPr lvl="0"/>
            <a:r>
              <a:rPr lang="de-DE" noProof="0"/>
              <a:t>Klicken um die Unterüberschrift einzufügen</a:t>
            </a:r>
          </a:p>
        </p:txBody>
      </p:sp>
      <p:sp>
        <p:nvSpPr>
          <p:cNvPr id="10" name="Datum und Ort">
            <a:extLst>
              <a:ext uri="{FF2B5EF4-FFF2-40B4-BE49-F238E27FC236}">
                <a16:creationId xmlns:a16="http://schemas.microsoft.com/office/drawing/2014/main" id="{F412FC0A-0316-4A1C-BDD0-D09FFD5AAC26}"/>
              </a:ext>
            </a:extLst>
          </p:cNvPr>
          <p:cNvSpPr>
            <a:spLocks noGrp="1"/>
          </p:cNvSpPr>
          <p:nvPr>
            <p:ph type="body" sz="quarter" idx="12" hasCustomPrompt="1"/>
          </p:nvPr>
        </p:nvSpPr>
        <p:spPr>
          <a:xfrm>
            <a:off x="536575" y="4421021"/>
            <a:ext cx="5416550" cy="189667"/>
          </a:xfrm>
          <a:prstGeom prst="rect">
            <a:avLst/>
          </a:prstGeom>
        </p:spPr>
        <p:txBody>
          <a:bodyPr lIns="18000" tIns="0" rIns="0" bIns="0" anchor="ctr">
            <a:normAutofit/>
          </a:bodyPr>
          <a:lstStyle>
            <a:lvl1pPr>
              <a:defRPr sz="1000">
                <a:solidFill>
                  <a:schemeClr val="bg1"/>
                </a:solidFill>
                <a:latin typeface="+mn-lt"/>
              </a:defRPr>
            </a:lvl1pPr>
            <a:lvl2pPr marL="0" indent="0">
              <a:buNone/>
              <a:defRPr/>
            </a:lvl2pPr>
          </a:lstStyle>
          <a:p>
            <a:pPr lvl="0"/>
            <a:r>
              <a:rPr lang="de-DE" noProof="0"/>
              <a:t>Veröffentlichungsdatum, Ort – ggf. Version (Format TT.MM.JJJJ, Ort – Version X.X)</a:t>
            </a:r>
          </a:p>
        </p:txBody>
      </p:sp>
      <p:pic>
        <p:nvPicPr>
          <p:cNvPr id="11" name="Graphic 10">
            <a:extLst>
              <a:ext uri="{FF2B5EF4-FFF2-40B4-BE49-F238E27FC236}">
                <a16:creationId xmlns:a16="http://schemas.microsoft.com/office/drawing/2014/main" id="{AA497089-D996-8BA5-ACF2-7CAED10A04E1}"/>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98598" y="156539"/>
            <a:ext cx="856828" cy="1040435"/>
          </a:xfrm>
          <a:prstGeom prst="rect">
            <a:avLst/>
          </a:prstGeom>
        </p:spPr>
      </p:pic>
      <p:sp>
        <p:nvSpPr>
          <p:cNvPr id="12" name="Vertraulich Hinweis">
            <a:extLst>
              <a:ext uri="{FF2B5EF4-FFF2-40B4-BE49-F238E27FC236}">
                <a16:creationId xmlns:a16="http://schemas.microsoft.com/office/drawing/2014/main" id="{26FC7AAC-BB3A-9497-EED0-B9E1DAD0E656}"/>
              </a:ext>
            </a:extLst>
          </p:cNvPr>
          <p:cNvSpPr txBox="1"/>
          <p:nvPr userDrawn="1"/>
        </p:nvSpPr>
        <p:spPr>
          <a:xfrm>
            <a:off x="536575" y="6296474"/>
            <a:ext cx="5416550" cy="430887"/>
          </a:xfrm>
          <a:prstGeom prst="rect">
            <a:avLst/>
          </a:prstGeom>
          <a:noFill/>
        </p:spPr>
        <p:txBody>
          <a:bodyPr wrap="square" lIns="0" tIns="0" rIns="0" bIns="0" rtlCol="0">
            <a:spAutoFit/>
          </a:bodyPr>
          <a:lstStyle/>
          <a:p>
            <a:pPr algn="l"/>
            <a:r>
              <a:rPr lang="de-DE" sz="700" noProof="0">
                <a:solidFill>
                  <a:schemeClr val="tx1"/>
                </a:solidFill>
                <a:latin typeface="+mn-lt"/>
              </a:rPr>
              <a:t>VERTRAULICH</a:t>
            </a:r>
            <a:br>
              <a:rPr lang="de-DE" sz="700" noProof="0">
                <a:solidFill>
                  <a:schemeClr val="tx1"/>
                </a:solidFill>
                <a:latin typeface="+mn-lt"/>
              </a:rPr>
            </a:br>
            <a:r>
              <a:rPr lang="de-DE" sz="700" noProof="0">
                <a:solidFill>
                  <a:schemeClr val="tx1"/>
                </a:solidFill>
                <a:latin typeface="+mn-lt"/>
              </a:rPr>
              <a:t>Wir, die </a:t>
            </a:r>
            <a:r>
              <a:rPr lang="de-DE" sz="700" noProof="0" err="1">
                <a:solidFill>
                  <a:schemeClr val="tx1"/>
                </a:solidFill>
                <a:latin typeface="+mn-lt"/>
              </a:rPr>
              <a:t>byte</a:t>
            </a:r>
            <a:r>
              <a:rPr lang="de-DE" sz="700" noProof="0">
                <a:solidFill>
                  <a:schemeClr val="tx1"/>
                </a:solidFill>
                <a:latin typeface="+mn-lt"/>
              </a:rPr>
              <a:t>,  möchten darauf hinweisen, dass jegliche Nutzung dieses Dokuments ausschließlich nur mit unserer Genehmigung möglich ist. </a:t>
            </a:r>
          </a:p>
          <a:p>
            <a:pPr algn="l"/>
            <a:endParaRPr lang="de-DE" sz="700" noProof="0">
              <a:solidFill>
                <a:schemeClr val="tx1"/>
              </a:solidFill>
              <a:latin typeface="+mn-lt"/>
            </a:endParaRPr>
          </a:p>
        </p:txBody>
      </p:sp>
      <p:pic>
        <p:nvPicPr>
          <p:cNvPr id="13" name="Pulse">
            <a:extLst>
              <a:ext uri="{FF2B5EF4-FFF2-40B4-BE49-F238E27FC236}">
                <a16:creationId xmlns:a16="http://schemas.microsoft.com/office/drawing/2014/main" id="{351C3F90-B3B1-6965-D09B-5F4592D7659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58868" y="4979179"/>
            <a:ext cx="10474264" cy="858868"/>
          </a:xfrm>
          <a:prstGeom prst="rect">
            <a:avLst/>
          </a:prstGeom>
        </p:spPr>
      </p:pic>
      <p:sp>
        <p:nvSpPr>
          <p:cNvPr id="2" name="Title 1">
            <a:extLst>
              <a:ext uri="{FF2B5EF4-FFF2-40B4-BE49-F238E27FC236}">
                <a16:creationId xmlns:a16="http://schemas.microsoft.com/office/drawing/2014/main" id="{6009852B-458E-93C7-3276-73B689031068}"/>
              </a:ext>
            </a:extLst>
          </p:cNvPr>
          <p:cNvSpPr>
            <a:spLocks noGrp="1"/>
          </p:cNvSpPr>
          <p:nvPr>
            <p:ph type="title" hasCustomPrompt="1"/>
          </p:nvPr>
        </p:nvSpPr>
        <p:spPr>
          <a:xfrm>
            <a:off x="536576" y="2241550"/>
            <a:ext cx="5416550" cy="1582738"/>
          </a:xfrm>
        </p:spPr>
        <p:txBody>
          <a:bodyPr vert="horz"/>
          <a:lstStyle>
            <a:lvl1pPr>
              <a:defRPr sz="3200">
                <a:solidFill>
                  <a:schemeClr val="bg1"/>
                </a:solidFill>
              </a:defRPr>
            </a:lvl1pPr>
          </a:lstStyle>
          <a:p>
            <a:r>
              <a:rPr lang="de-DE" noProof="0"/>
              <a:t>Klicke hier um den Dokumenttitel einzufügen</a:t>
            </a:r>
          </a:p>
        </p:txBody>
      </p:sp>
      <p:sp>
        <p:nvSpPr>
          <p:cNvPr id="28" name="Slide Number Placeholder 27">
            <a:extLst>
              <a:ext uri="{FF2B5EF4-FFF2-40B4-BE49-F238E27FC236}">
                <a16:creationId xmlns:a16="http://schemas.microsoft.com/office/drawing/2014/main" id="{7B9AF9DF-38D0-3317-9065-4B13C59E5CB0}"/>
              </a:ext>
            </a:extLst>
          </p:cNvPr>
          <p:cNvSpPr>
            <a:spLocks noGrp="1"/>
          </p:cNvSpPr>
          <p:nvPr>
            <p:ph type="sldNum" sz="quarter" idx="13"/>
          </p:nvPr>
        </p:nvSpPr>
        <p:spPr/>
        <p:txBody>
          <a:bodyPr/>
          <a:lstStyle>
            <a:lvl1pPr>
              <a:defRPr>
                <a:solidFill>
                  <a:schemeClr val="tx1"/>
                </a:solidFill>
              </a:defRPr>
            </a:lvl1pPr>
          </a:lstStyle>
          <a:p>
            <a:fld id="{0016BBAD-09BD-6243-A9CA-D1F4B193196B}" type="slidenum">
              <a:rPr lang="de-DE" smtClean="0"/>
              <a:pPr/>
              <a:t>‹Nr.›</a:t>
            </a:fld>
            <a:endParaRPr lang="de-DE"/>
          </a:p>
        </p:txBody>
      </p:sp>
      <p:sp>
        <p:nvSpPr>
          <p:cNvPr id="29" name="Footer Placeholder 28">
            <a:extLst>
              <a:ext uri="{FF2B5EF4-FFF2-40B4-BE49-F238E27FC236}">
                <a16:creationId xmlns:a16="http://schemas.microsoft.com/office/drawing/2014/main" id="{07DE899E-9B31-C85D-FA0D-B3290108A564}"/>
              </a:ext>
            </a:extLst>
          </p:cNvPr>
          <p:cNvSpPr>
            <a:spLocks noGrp="1"/>
          </p:cNvSpPr>
          <p:nvPr>
            <p:ph type="ftr" sz="quarter" idx="14"/>
          </p:nvPr>
        </p:nvSpPr>
        <p:spPr/>
        <p:txBody>
          <a:bodyPr/>
          <a:lstStyle>
            <a:lvl1pPr>
              <a:defRPr>
                <a:solidFill>
                  <a:schemeClr val="tx1"/>
                </a:solidFill>
              </a:defRPr>
            </a:lvl1pPr>
          </a:lstStyle>
          <a:p>
            <a:r>
              <a:rPr lang="de-DE"/>
              <a:t>byte – Bayerische Agentur für Digitales</a:t>
            </a:r>
          </a:p>
        </p:txBody>
      </p:sp>
      <p:cxnSp>
        <p:nvCxnSpPr>
          <p:cNvPr id="22" name="Gerader Verbinder 13">
            <a:extLst>
              <a:ext uri="{FF2B5EF4-FFF2-40B4-BE49-F238E27FC236}">
                <a16:creationId xmlns:a16="http://schemas.microsoft.com/office/drawing/2014/main" id="{E2BDEBC0-76FA-19BD-9DF5-E59E12B90409}"/>
              </a:ext>
            </a:extLst>
          </p:cNvPr>
          <p:cNvCxnSpPr>
            <a:cxnSpLocks/>
          </p:cNvCxnSpPr>
          <p:nvPr userDrawn="1"/>
        </p:nvCxnSpPr>
        <p:spPr>
          <a:xfrm>
            <a:off x="536575" y="6208496"/>
            <a:ext cx="16129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feld 2">
            <a:extLst>
              <a:ext uri="{FF2B5EF4-FFF2-40B4-BE49-F238E27FC236}">
                <a16:creationId xmlns:a16="http://schemas.microsoft.com/office/drawing/2014/main" id="{05013A4C-2718-885E-DDF0-FC496CB0C50D}"/>
              </a:ext>
            </a:extLst>
          </p:cNvPr>
          <p:cNvSpPr txBox="1"/>
          <p:nvPr userDrawn="1"/>
        </p:nvSpPr>
        <p:spPr>
          <a:xfrm>
            <a:off x="567397" y="5953827"/>
            <a:ext cx="16129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noProof="0" err="1">
                <a:solidFill>
                  <a:schemeClr val="tx1"/>
                </a:solidFill>
                <a:latin typeface="+mj-lt"/>
              </a:rPr>
              <a:t>byte.bayern</a:t>
            </a:r>
            <a:endParaRPr lang="de-DE" sz="1400" noProof="0">
              <a:solidFill>
                <a:schemeClr val="tx1"/>
              </a:solidFill>
              <a:latin typeface="+mj-lt"/>
            </a:endParaRPr>
          </a:p>
        </p:txBody>
      </p:sp>
    </p:spTree>
    <p:extLst>
      <p:ext uri="{BB962C8B-B14F-4D97-AF65-F5344CB8AC3E}">
        <p14:creationId xmlns:p14="http://schemas.microsoft.com/office/powerpoint/2010/main" val="33773232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folie_hell_2-Spal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32494655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p>
            <a:r>
              <a:rPr lang="de-DE" noProof="0"/>
              <a:t>Klicke hier um einen Action Title einzufügen.</a:t>
            </a:r>
          </a:p>
        </p:txBody>
      </p:sp>
      <p:cxnSp>
        <p:nvCxnSpPr>
          <p:cNvPr id="11" name="Gerader Verbinder 15">
            <a:extLst>
              <a:ext uri="{FF2B5EF4-FFF2-40B4-BE49-F238E27FC236}">
                <a16:creationId xmlns:a16="http://schemas.microsoft.com/office/drawing/2014/main" id="{E68C9AC1-EA60-B9BC-A365-B318C997DDFC}"/>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9CE69AEF-AB50-D8DE-A0CB-C550A0A9E018}"/>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8E18B6C2-6FE9-14EE-CA7A-426690F55A0E}"/>
              </a:ext>
            </a:extLst>
          </p:cNvPr>
          <p:cNvSpPr>
            <a:spLocks noGrp="1"/>
          </p:cNvSpPr>
          <p:nvPr>
            <p:ph type="sldNum" sz="quarter" idx="14"/>
          </p:nvPr>
        </p:nvSpPr>
        <p:spPr/>
        <p:txBody>
          <a:bodyPr/>
          <a:lstStyle/>
          <a:p>
            <a:fld id="{0016BBAD-09BD-6243-A9CA-D1F4B193196B}" type="slidenum">
              <a:rPr lang="en-GB" smtClean="0"/>
              <a:pPr/>
              <a:t>‹Nr.›</a:t>
            </a:fld>
            <a:endParaRPr lang="en-GB"/>
          </a:p>
        </p:txBody>
      </p:sp>
      <p:sp>
        <p:nvSpPr>
          <p:cNvPr id="10" name="Text Placeholder 7">
            <a:extLst>
              <a:ext uri="{FF2B5EF4-FFF2-40B4-BE49-F238E27FC236}">
                <a16:creationId xmlns:a16="http://schemas.microsoft.com/office/drawing/2014/main" id="{E0A1565E-A193-D574-0F3D-13EAE1204CC2}"/>
              </a:ext>
            </a:extLst>
          </p:cNvPr>
          <p:cNvSpPr>
            <a:spLocks noGrp="1"/>
          </p:cNvSpPr>
          <p:nvPr>
            <p:ph type="body" sz="quarter" idx="15"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de-DE" noProof="0"/>
              <a:t>Kapitel ➝ Thema</a:t>
            </a:r>
          </a:p>
        </p:txBody>
      </p:sp>
      <p:sp>
        <p:nvSpPr>
          <p:cNvPr id="4" name="Text Placeholder 3">
            <a:extLst>
              <a:ext uri="{FF2B5EF4-FFF2-40B4-BE49-F238E27FC236}">
                <a16:creationId xmlns:a16="http://schemas.microsoft.com/office/drawing/2014/main" id="{5D94B42E-13CC-DD62-9D7A-C7E48914AE42}"/>
              </a:ext>
            </a:extLst>
          </p:cNvPr>
          <p:cNvSpPr>
            <a:spLocks noGrp="1"/>
          </p:cNvSpPr>
          <p:nvPr>
            <p:ph type="body" sz="quarter" idx="16" hasCustomPrompt="1"/>
          </p:nvPr>
        </p:nvSpPr>
        <p:spPr>
          <a:xfrm>
            <a:off x="536575" y="2106707"/>
            <a:ext cx="5416550" cy="530131"/>
          </a:xfrm>
        </p:spPr>
        <p:txBody>
          <a:bodyPr lIns="0" tIns="0" rIns="0" bIns="0" anchor="b">
            <a:noAutofit/>
          </a:bodyPr>
          <a:lstStyle>
            <a:lvl1pPr>
              <a:defRPr b="1"/>
            </a:lvl1pPr>
          </a:lstStyle>
          <a:p>
            <a:pPr lvl="0"/>
            <a:r>
              <a:rPr lang="de-DE" noProof="0"/>
              <a:t>Klicke um Überschrift einzufügen – 16pt; maximal 2 Zeilen</a:t>
            </a:r>
          </a:p>
        </p:txBody>
      </p:sp>
      <p:sp>
        <p:nvSpPr>
          <p:cNvPr id="9" name="Text Placeholder 3">
            <a:extLst>
              <a:ext uri="{FF2B5EF4-FFF2-40B4-BE49-F238E27FC236}">
                <a16:creationId xmlns:a16="http://schemas.microsoft.com/office/drawing/2014/main" id="{9CF27F81-0146-F349-C745-314B9AF16317}"/>
              </a:ext>
            </a:extLst>
          </p:cNvPr>
          <p:cNvSpPr>
            <a:spLocks noGrp="1"/>
          </p:cNvSpPr>
          <p:nvPr>
            <p:ph type="body" sz="quarter" idx="18" hasCustomPrompt="1"/>
          </p:nvPr>
        </p:nvSpPr>
        <p:spPr>
          <a:xfrm>
            <a:off x="6238875" y="2106707"/>
            <a:ext cx="5416550" cy="530131"/>
          </a:xfrm>
        </p:spPr>
        <p:txBody>
          <a:bodyPr lIns="0" tIns="0" rIns="0" bIns="0" anchor="b">
            <a:noAutofit/>
          </a:bodyPr>
          <a:lstStyle>
            <a:lvl1pPr>
              <a:defRPr b="1"/>
            </a:lvl1pPr>
          </a:lstStyle>
          <a:p>
            <a:pPr lvl="0"/>
            <a:r>
              <a:rPr lang="de-DE" noProof="0"/>
              <a:t>Klicke um Überschrift einzufügen – 16pt; maximal 2 Zeilen</a:t>
            </a:r>
          </a:p>
        </p:txBody>
      </p:sp>
      <p:sp>
        <p:nvSpPr>
          <p:cNvPr id="13" name="Text Placeholder 3">
            <a:extLst>
              <a:ext uri="{FF2B5EF4-FFF2-40B4-BE49-F238E27FC236}">
                <a16:creationId xmlns:a16="http://schemas.microsoft.com/office/drawing/2014/main" id="{0EEB4A16-87E2-BC3C-4D1B-81E48219A996}"/>
              </a:ext>
            </a:extLst>
          </p:cNvPr>
          <p:cNvSpPr>
            <a:spLocks noGrp="1"/>
          </p:cNvSpPr>
          <p:nvPr>
            <p:ph type="body" sz="quarter" idx="20" hasCustomPrompt="1"/>
          </p:nvPr>
        </p:nvSpPr>
        <p:spPr>
          <a:xfrm>
            <a:off x="536575" y="3038523"/>
            <a:ext cx="5416550" cy="3162252"/>
          </a:xfrm>
        </p:spPr>
        <p:txBody>
          <a:bodyPr lIns="0" tIns="0" rIns="0" bIns="0" anchor="t">
            <a:noAutofit/>
          </a:bodyPr>
          <a:lstStyle>
            <a:lvl1pPr>
              <a:defRPr sz="1200"/>
            </a:lvl1pPr>
          </a:lstStyle>
          <a:p>
            <a:pPr lvl="0"/>
            <a:r>
              <a:rPr lang="de-DE" noProof="0"/>
              <a:t>Klicke um Text einzufügen – 12pt; Textblöcke mit maximal 3 Zeilen</a:t>
            </a:r>
          </a:p>
        </p:txBody>
      </p:sp>
      <p:sp>
        <p:nvSpPr>
          <p:cNvPr id="15" name="Text Placeholder 3">
            <a:extLst>
              <a:ext uri="{FF2B5EF4-FFF2-40B4-BE49-F238E27FC236}">
                <a16:creationId xmlns:a16="http://schemas.microsoft.com/office/drawing/2014/main" id="{881F54F9-AFAB-7021-ADF7-91476DF5032D}"/>
              </a:ext>
            </a:extLst>
          </p:cNvPr>
          <p:cNvSpPr>
            <a:spLocks noGrp="1"/>
          </p:cNvSpPr>
          <p:nvPr>
            <p:ph type="body" sz="quarter" idx="22" hasCustomPrompt="1"/>
          </p:nvPr>
        </p:nvSpPr>
        <p:spPr>
          <a:xfrm>
            <a:off x="6238875" y="3038523"/>
            <a:ext cx="5416550" cy="3162252"/>
          </a:xfrm>
        </p:spPr>
        <p:txBody>
          <a:bodyPr lIns="0" tIns="0" rIns="0" bIns="0" anchor="t">
            <a:noAutofit/>
          </a:bodyPr>
          <a:lstStyle>
            <a:lvl1pPr>
              <a:defRPr sz="1200"/>
            </a:lvl1pPr>
          </a:lstStyle>
          <a:p>
            <a:pPr lvl="0"/>
            <a:r>
              <a:rPr lang="de-DE" noProof="0"/>
              <a:t>Klicke um Text einzufügen – 12pt; Textblöcke mit maximal 3 Zeilen</a:t>
            </a:r>
          </a:p>
        </p:txBody>
      </p:sp>
    </p:spTree>
    <p:extLst>
      <p:ext uri="{BB962C8B-B14F-4D97-AF65-F5344CB8AC3E}">
        <p14:creationId xmlns:p14="http://schemas.microsoft.com/office/powerpoint/2010/main" val="25825080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folie_hell_3-Spal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8904799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p>
            <a:r>
              <a:rPr lang="de-DE" noProof="0"/>
              <a:t>Klicke hier um einen Action Title einzufügen.</a:t>
            </a:r>
          </a:p>
        </p:txBody>
      </p:sp>
      <p:cxnSp>
        <p:nvCxnSpPr>
          <p:cNvPr id="11" name="Gerader Verbinder 15">
            <a:extLst>
              <a:ext uri="{FF2B5EF4-FFF2-40B4-BE49-F238E27FC236}">
                <a16:creationId xmlns:a16="http://schemas.microsoft.com/office/drawing/2014/main" id="{E68C9AC1-EA60-B9BC-A365-B318C997DDFC}"/>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9CE69AEF-AB50-D8DE-A0CB-C550A0A9E018}"/>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8E18B6C2-6FE9-14EE-CA7A-426690F55A0E}"/>
              </a:ext>
            </a:extLst>
          </p:cNvPr>
          <p:cNvSpPr>
            <a:spLocks noGrp="1"/>
          </p:cNvSpPr>
          <p:nvPr>
            <p:ph type="sldNum" sz="quarter" idx="14"/>
          </p:nvPr>
        </p:nvSpPr>
        <p:spPr/>
        <p:txBody>
          <a:bodyPr/>
          <a:lstStyle/>
          <a:p>
            <a:fld id="{0016BBAD-09BD-6243-A9CA-D1F4B193196B}" type="slidenum">
              <a:rPr lang="en-GB" smtClean="0"/>
              <a:pPr/>
              <a:t>‹Nr.›</a:t>
            </a:fld>
            <a:endParaRPr lang="en-GB"/>
          </a:p>
        </p:txBody>
      </p:sp>
      <p:sp>
        <p:nvSpPr>
          <p:cNvPr id="10" name="Text Placeholder 7">
            <a:extLst>
              <a:ext uri="{FF2B5EF4-FFF2-40B4-BE49-F238E27FC236}">
                <a16:creationId xmlns:a16="http://schemas.microsoft.com/office/drawing/2014/main" id="{E0A1565E-A193-D574-0F3D-13EAE1204CC2}"/>
              </a:ext>
            </a:extLst>
          </p:cNvPr>
          <p:cNvSpPr>
            <a:spLocks noGrp="1"/>
          </p:cNvSpPr>
          <p:nvPr>
            <p:ph type="body" sz="quarter" idx="15"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de-DE" noProof="0"/>
              <a:t>Kapitel ➝ Thema</a:t>
            </a:r>
          </a:p>
        </p:txBody>
      </p:sp>
      <p:sp>
        <p:nvSpPr>
          <p:cNvPr id="4" name="Text Placeholder 3">
            <a:extLst>
              <a:ext uri="{FF2B5EF4-FFF2-40B4-BE49-F238E27FC236}">
                <a16:creationId xmlns:a16="http://schemas.microsoft.com/office/drawing/2014/main" id="{5D94B42E-13CC-DD62-9D7A-C7E48914AE42}"/>
              </a:ext>
            </a:extLst>
          </p:cNvPr>
          <p:cNvSpPr>
            <a:spLocks noGrp="1"/>
          </p:cNvSpPr>
          <p:nvPr>
            <p:ph type="body" sz="quarter" idx="16" hasCustomPrompt="1"/>
          </p:nvPr>
        </p:nvSpPr>
        <p:spPr>
          <a:xfrm>
            <a:off x="536575" y="2106707"/>
            <a:ext cx="3514725" cy="530131"/>
          </a:xfrm>
        </p:spPr>
        <p:txBody>
          <a:bodyPr lIns="0" tIns="0" rIns="0" bIns="0" anchor="b">
            <a:noAutofit/>
          </a:bodyPr>
          <a:lstStyle>
            <a:lvl1pPr>
              <a:defRPr b="1"/>
            </a:lvl1pPr>
          </a:lstStyle>
          <a:p>
            <a:pPr lvl="0"/>
            <a:r>
              <a:rPr lang="de-DE" noProof="0"/>
              <a:t>Klicke um Überschrift einzufügen – 16pt; maximal 2 Zeilen</a:t>
            </a:r>
          </a:p>
        </p:txBody>
      </p:sp>
      <p:sp>
        <p:nvSpPr>
          <p:cNvPr id="13" name="Text Placeholder 3">
            <a:extLst>
              <a:ext uri="{FF2B5EF4-FFF2-40B4-BE49-F238E27FC236}">
                <a16:creationId xmlns:a16="http://schemas.microsoft.com/office/drawing/2014/main" id="{0EEB4A16-87E2-BC3C-4D1B-81E48219A996}"/>
              </a:ext>
            </a:extLst>
          </p:cNvPr>
          <p:cNvSpPr>
            <a:spLocks noGrp="1"/>
          </p:cNvSpPr>
          <p:nvPr>
            <p:ph type="body" sz="quarter" idx="20" hasCustomPrompt="1"/>
          </p:nvPr>
        </p:nvSpPr>
        <p:spPr>
          <a:xfrm>
            <a:off x="536575" y="3038523"/>
            <a:ext cx="3514725" cy="3162252"/>
          </a:xfrm>
        </p:spPr>
        <p:txBody>
          <a:bodyPr lIns="0" tIns="0" rIns="0" bIns="0" anchor="t">
            <a:noAutofit/>
          </a:bodyPr>
          <a:lstStyle>
            <a:lvl1pPr>
              <a:defRPr sz="1200"/>
            </a:lvl1pPr>
          </a:lstStyle>
          <a:p>
            <a:pPr lvl="0"/>
            <a:r>
              <a:rPr lang="de-DE" noProof="0"/>
              <a:t>Klicke um Text einzufügen – 12pt; Textblöcke mit maximal 3 Zeilen</a:t>
            </a:r>
          </a:p>
        </p:txBody>
      </p:sp>
      <p:sp>
        <p:nvSpPr>
          <p:cNvPr id="3" name="Text Placeholder 3">
            <a:extLst>
              <a:ext uri="{FF2B5EF4-FFF2-40B4-BE49-F238E27FC236}">
                <a16:creationId xmlns:a16="http://schemas.microsoft.com/office/drawing/2014/main" id="{5E9AB082-1872-23C7-FAD4-21A7E529E00E}"/>
              </a:ext>
            </a:extLst>
          </p:cNvPr>
          <p:cNvSpPr>
            <a:spLocks noGrp="1"/>
          </p:cNvSpPr>
          <p:nvPr>
            <p:ph type="body" sz="quarter" idx="21" hasCustomPrompt="1"/>
          </p:nvPr>
        </p:nvSpPr>
        <p:spPr>
          <a:xfrm>
            <a:off x="4337050" y="2106707"/>
            <a:ext cx="3514725" cy="530131"/>
          </a:xfrm>
        </p:spPr>
        <p:txBody>
          <a:bodyPr lIns="0" tIns="0" rIns="0" bIns="0" anchor="b">
            <a:noAutofit/>
          </a:bodyPr>
          <a:lstStyle>
            <a:lvl1pPr>
              <a:defRPr b="1"/>
            </a:lvl1pPr>
          </a:lstStyle>
          <a:p>
            <a:pPr lvl="0"/>
            <a:r>
              <a:rPr lang="de-DE" noProof="0"/>
              <a:t>Klicke um Überschrift einzufügen – 16pt; maximal 2 Zeilen</a:t>
            </a:r>
          </a:p>
        </p:txBody>
      </p:sp>
      <p:sp>
        <p:nvSpPr>
          <p:cNvPr id="8" name="Text Placeholder 3">
            <a:extLst>
              <a:ext uri="{FF2B5EF4-FFF2-40B4-BE49-F238E27FC236}">
                <a16:creationId xmlns:a16="http://schemas.microsoft.com/office/drawing/2014/main" id="{6A906E2E-3FCD-CCC0-CC27-A136395B64C9}"/>
              </a:ext>
            </a:extLst>
          </p:cNvPr>
          <p:cNvSpPr>
            <a:spLocks noGrp="1"/>
          </p:cNvSpPr>
          <p:nvPr>
            <p:ph type="body" sz="quarter" idx="22" hasCustomPrompt="1"/>
          </p:nvPr>
        </p:nvSpPr>
        <p:spPr>
          <a:xfrm>
            <a:off x="4337050" y="3038523"/>
            <a:ext cx="3514725" cy="3162252"/>
          </a:xfrm>
        </p:spPr>
        <p:txBody>
          <a:bodyPr lIns="0" tIns="0" rIns="0" bIns="0" anchor="t">
            <a:noAutofit/>
          </a:bodyPr>
          <a:lstStyle>
            <a:lvl1pPr>
              <a:defRPr sz="1200"/>
            </a:lvl1pPr>
          </a:lstStyle>
          <a:p>
            <a:pPr lvl="0"/>
            <a:r>
              <a:rPr lang="de-DE" noProof="0"/>
              <a:t>Klicke um Text einzufügen – 12pt; Textblöcke mit maximal 3 Zeilen</a:t>
            </a:r>
          </a:p>
        </p:txBody>
      </p:sp>
      <p:sp>
        <p:nvSpPr>
          <p:cNvPr id="12" name="Text Placeholder 3">
            <a:extLst>
              <a:ext uri="{FF2B5EF4-FFF2-40B4-BE49-F238E27FC236}">
                <a16:creationId xmlns:a16="http://schemas.microsoft.com/office/drawing/2014/main" id="{51E5E723-9535-AFF5-6E05-07A925B381FE}"/>
              </a:ext>
            </a:extLst>
          </p:cNvPr>
          <p:cNvSpPr>
            <a:spLocks noGrp="1"/>
          </p:cNvSpPr>
          <p:nvPr>
            <p:ph type="body" sz="quarter" idx="23" hasCustomPrompt="1"/>
          </p:nvPr>
        </p:nvSpPr>
        <p:spPr>
          <a:xfrm>
            <a:off x="8140702" y="2106707"/>
            <a:ext cx="3514725" cy="530131"/>
          </a:xfrm>
        </p:spPr>
        <p:txBody>
          <a:bodyPr lIns="0" tIns="0" rIns="0" bIns="0" anchor="b">
            <a:noAutofit/>
          </a:bodyPr>
          <a:lstStyle>
            <a:lvl1pPr>
              <a:defRPr b="1"/>
            </a:lvl1pPr>
          </a:lstStyle>
          <a:p>
            <a:pPr lvl="0"/>
            <a:r>
              <a:rPr lang="de-DE" noProof="0"/>
              <a:t>Klicke um Überschrift einzufügen – 16pt; maximal 2 Zeilen</a:t>
            </a:r>
          </a:p>
        </p:txBody>
      </p:sp>
      <p:sp>
        <p:nvSpPr>
          <p:cNvPr id="14" name="Text Placeholder 3">
            <a:extLst>
              <a:ext uri="{FF2B5EF4-FFF2-40B4-BE49-F238E27FC236}">
                <a16:creationId xmlns:a16="http://schemas.microsoft.com/office/drawing/2014/main" id="{76FA3BA6-B057-6B3A-ACB0-3B8B05CD9D26}"/>
              </a:ext>
            </a:extLst>
          </p:cNvPr>
          <p:cNvSpPr>
            <a:spLocks noGrp="1"/>
          </p:cNvSpPr>
          <p:nvPr>
            <p:ph type="body" sz="quarter" idx="24" hasCustomPrompt="1"/>
          </p:nvPr>
        </p:nvSpPr>
        <p:spPr>
          <a:xfrm>
            <a:off x="8140702" y="3038523"/>
            <a:ext cx="3514725" cy="3162252"/>
          </a:xfrm>
        </p:spPr>
        <p:txBody>
          <a:bodyPr lIns="0" tIns="0" rIns="0" bIns="0" anchor="t">
            <a:noAutofit/>
          </a:bodyPr>
          <a:lstStyle>
            <a:lvl1pPr>
              <a:defRPr sz="1200"/>
            </a:lvl1pPr>
          </a:lstStyle>
          <a:p>
            <a:pPr lvl="0"/>
            <a:r>
              <a:rPr lang="de-DE" noProof="0"/>
              <a:t>Klicke um Text einzufügen – 12pt; Textblöcke mit maximal 3 Zeilen</a:t>
            </a:r>
          </a:p>
        </p:txBody>
      </p:sp>
    </p:spTree>
    <p:extLst>
      <p:ext uri="{BB962C8B-B14F-4D97-AF65-F5344CB8AC3E}">
        <p14:creationId xmlns:p14="http://schemas.microsoft.com/office/powerpoint/2010/main" val="423519757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Überschrift_Kar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309266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8553450" cy="755650"/>
          </a:xfrm>
        </p:spPr>
        <p:txBody>
          <a:bodyPr vert="horz"/>
          <a:lstStyle/>
          <a:p>
            <a:r>
              <a:rPr lang="de-DE" noProof="0"/>
              <a:t>Klicke hier um einen Action Title einzufügen.</a:t>
            </a:r>
          </a:p>
        </p:txBody>
      </p:sp>
      <p:sp>
        <p:nvSpPr>
          <p:cNvPr id="8" name="Text Placeholder 7">
            <a:extLst>
              <a:ext uri="{FF2B5EF4-FFF2-40B4-BE49-F238E27FC236}">
                <a16:creationId xmlns:a16="http://schemas.microsoft.com/office/drawing/2014/main" id="{85E62533-FFBD-DD9B-E9DB-AA5874564EF1}"/>
              </a:ext>
            </a:extLst>
          </p:cNvPr>
          <p:cNvSpPr>
            <a:spLocks noGrp="1"/>
          </p:cNvSpPr>
          <p:nvPr>
            <p:ph type="body" sz="quarter" idx="12" hasCustomPrompt="1"/>
          </p:nvPr>
        </p:nvSpPr>
        <p:spPr>
          <a:xfrm>
            <a:off x="3983968" y="152400"/>
            <a:ext cx="5092324" cy="180975"/>
          </a:xfrm>
        </p:spPr>
        <p:txBody>
          <a:bodyPr anchor="ctr">
            <a:noAutofit/>
          </a:bodyPr>
          <a:lstStyle>
            <a:lvl1pPr algn="r">
              <a:defRPr sz="900">
                <a:solidFill>
                  <a:schemeClr val="accent2"/>
                </a:solidFill>
              </a:defRPr>
            </a:lvl1pPr>
          </a:lstStyle>
          <a:p>
            <a:pPr lvl="0"/>
            <a:r>
              <a:rPr lang="de-DE" noProof="0"/>
              <a:t>Kapitel ➝ Thema</a:t>
            </a:r>
          </a:p>
        </p:txBody>
      </p:sp>
      <p:sp>
        <p:nvSpPr>
          <p:cNvPr id="5" name="Footer Placeholder 4">
            <a:extLst>
              <a:ext uri="{FF2B5EF4-FFF2-40B4-BE49-F238E27FC236}">
                <a16:creationId xmlns:a16="http://schemas.microsoft.com/office/drawing/2014/main" id="{9CE69AEF-AB50-D8DE-A0CB-C550A0A9E018}"/>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8E18B6C2-6FE9-14EE-CA7A-426690F55A0E}"/>
              </a:ext>
            </a:extLst>
          </p:cNvPr>
          <p:cNvSpPr>
            <a:spLocks noGrp="1"/>
          </p:cNvSpPr>
          <p:nvPr>
            <p:ph type="sldNum" sz="quarter" idx="14"/>
          </p:nvPr>
        </p:nvSpPr>
        <p:spPr/>
        <p:txBody>
          <a:bodyPr/>
          <a:lstStyle/>
          <a:p>
            <a:fld id="{0016BBAD-09BD-6243-A9CA-D1F4B193196B}" type="slidenum">
              <a:rPr lang="en-GB" smtClean="0"/>
              <a:pPr/>
              <a:t>‹Nr.›</a:t>
            </a:fld>
            <a:endParaRPr lang="en-GB"/>
          </a:p>
        </p:txBody>
      </p:sp>
      <p:pic>
        <p:nvPicPr>
          <p:cNvPr id="3" name="Grafik 9">
            <a:extLst>
              <a:ext uri="{FF2B5EF4-FFF2-40B4-BE49-F238E27FC236}">
                <a16:creationId xmlns:a16="http://schemas.microsoft.com/office/drawing/2014/main" id="{16C2EB26-8E34-3528-8503-E4E7523D4E4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cxnSp>
        <p:nvCxnSpPr>
          <p:cNvPr id="12" name="Gerader Verbinder 15">
            <a:extLst>
              <a:ext uri="{FF2B5EF4-FFF2-40B4-BE49-F238E27FC236}">
                <a16:creationId xmlns:a16="http://schemas.microsoft.com/office/drawing/2014/main" id="{251E13F6-CDD3-E56D-0DA8-047F1CC99D69}"/>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28927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folie_dunk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7565689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8AC0F921-487D-F8AF-9FA8-AE31E2C287D4}"/>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lvl1pPr>
              <a:defRPr>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5" name="Picture Placeholder 4">
            <a:extLst>
              <a:ext uri="{FF2B5EF4-FFF2-40B4-BE49-F238E27FC236}">
                <a16:creationId xmlns:a16="http://schemas.microsoft.com/office/drawing/2014/main" id="{1E2F502F-1887-839D-300C-7A0EA339972D}"/>
              </a:ext>
            </a:extLst>
          </p:cNvPr>
          <p:cNvSpPr>
            <a:spLocks noGrp="1"/>
          </p:cNvSpPr>
          <p:nvPr>
            <p:ph type="pic" sz="quarter" idx="13"/>
          </p:nvPr>
        </p:nvSpPr>
        <p:spPr>
          <a:xfrm>
            <a:off x="1178410" y="1597819"/>
            <a:ext cx="1371600" cy="1371600"/>
          </a:xfrm>
          <a:prstGeom prst="ellipse">
            <a:avLst/>
          </a:prstGeom>
        </p:spPr>
        <p:txBody>
          <a:bodyPr/>
          <a:lstStyle/>
          <a:p>
            <a:endParaRPr lang="en-GB"/>
          </a:p>
        </p:txBody>
      </p:sp>
      <p:sp>
        <p:nvSpPr>
          <p:cNvPr id="9" name="Text Placeholder 8">
            <a:extLst>
              <a:ext uri="{FF2B5EF4-FFF2-40B4-BE49-F238E27FC236}">
                <a16:creationId xmlns:a16="http://schemas.microsoft.com/office/drawing/2014/main" id="{718420BF-676E-6493-8B13-E7879130AC3F}"/>
              </a:ext>
            </a:extLst>
          </p:cNvPr>
          <p:cNvSpPr>
            <a:spLocks noGrp="1"/>
          </p:cNvSpPr>
          <p:nvPr>
            <p:ph type="body" sz="quarter" idx="14" hasCustomPrompt="1"/>
          </p:nvPr>
        </p:nvSpPr>
        <p:spPr>
          <a:xfrm>
            <a:off x="667566" y="3178355"/>
            <a:ext cx="2376928" cy="271989"/>
          </a:xfrm>
        </p:spPr>
        <p:txBody>
          <a:bodyPr>
            <a:normAutofit/>
          </a:bodyPr>
          <a:lstStyle>
            <a:lvl1pPr>
              <a:defRPr sz="1100" b="1">
                <a:solidFill>
                  <a:schemeClr val="bg1"/>
                </a:solidFill>
              </a:defRPr>
            </a:lvl1pPr>
          </a:lstStyle>
          <a:p>
            <a:pPr lvl="0"/>
            <a:r>
              <a:rPr lang="en-GB" err="1"/>
              <a:t>Vorname</a:t>
            </a:r>
            <a:r>
              <a:rPr lang="en-GB"/>
              <a:t> </a:t>
            </a:r>
            <a:r>
              <a:rPr lang="en-GB" err="1"/>
              <a:t>Nachname</a:t>
            </a:r>
            <a:endParaRPr lang="en-GB"/>
          </a:p>
        </p:txBody>
      </p:sp>
      <p:sp>
        <p:nvSpPr>
          <p:cNvPr id="10" name="Text Placeholder 8">
            <a:extLst>
              <a:ext uri="{FF2B5EF4-FFF2-40B4-BE49-F238E27FC236}">
                <a16:creationId xmlns:a16="http://schemas.microsoft.com/office/drawing/2014/main" id="{FE5C8686-A951-62CE-BBCD-3049CED2B80A}"/>
              </a:ext>
            </a:extLst>
          </p:cNvPr>
          <p:cNvSpPr>
            <a:spLocks noGrp="1"/>
          </p:cNvSpPr>
          <p:nvPr>
            <p:ph type="body" sz="quarter" idx="15" hasCustomPrompt="1"/>
          </p:nvPr>
        </p:nvSpPr>
        <p:spPr>
          <a:xfrm>
            <a:off x="667566" y="3473204"/>
            <a:ext cx="2376928" cy="130104"/>
          </a:xfrm>
        </p:spPr>
        <p:txBody>
          <a:bodyPr anchor="ctr">
            <a:noAutofit/>
          </a:bodyPr>
          <a:lstStyle>
            <a:lvl1pPr>
              <a:defRPr sz="1100" b="0">
                <a:solidFill>
                  <a:schemeClr val="bg1"/>
                </a:solidFill>
              </a:defRPr>
            </a:lvl1pPr>
          </a:lstStyle>
          <a:p>
            <a:pPr lvl="0"/>
            <a:r>
              <a:rPr lang="en-GB"/>
              <a:t>Rolle</a:t>
            </a:r>
          </a:p>
        </p:txBody>
      </p:sp>
      <p:sp>
        <p:nvSpPr>
          <p:cNvPr id="13" name="Text Placeholder 8">
            <a:extLst>
              <a:ext uri="{FF2B5EF4-FFF2-40B4-BE49-F238E27FC236}">
                <a16:creationId xmlns:a16="http://schemas.microsoft.com/office/drawing/2014/main" id="{150BE484-9FFD-C4CD-DBF9-4C787013D077}"/>
              </a:ext>
            </a:extLst>
          </p:cNvPr>
          <p:cNvSpPr>
            <a:spLocks noGrp="1"/>
          </p:cNvSpPr>
          <p:nvPr>
            <p:ph type="body" sz="quarter" idx="16" hasCustomPrompt="1"/>
          </p:nvPr>
        </p:nvSpPr>
        <p:spPr>
          <a:xfrm>
            <a:off x="667566" y="3626169"/>
            <a:ext cx="2376928" cy="97192"/>
          </a:xfrm>
        </p:spPr>
        <p:txBody>
          <a:bodyPr anchor="ctr">
            <a:noAutofit/>
          </a:bodyPr>
          <a:lstStyle>
            <a:lvl1pPr>
              <a:defRPr sz="1000" b="0">
                <a:solidFill>
                  <a:schemeClr val="bg1"/>
                </a:solidFill>
              </a:defRPr>
            </a:lvl1pPr>
          </a:lstStyle>
          <a:p>
            <a:pPr lvl="0"/>
            <a:r>
              <a:rPr lang="en-GB" err="1"/>
              <a:t>Firma</a:t>
            </a:r>
            <a:endParaRPr lang="en-GB"/>
          </a:p>
        </p:txBody>
      </p:sp>
      <p:sp>
        <p:nvSpPr>
          <p:cNvPr id="14" name="Picture Placeholder 4">
            <a:extLst>
              <a:ext uri="{FF2B5EF4-FFF2-40B4-BE49-F238E27FC236}">
                <a16:creationId xmlns:a16="http://schemas.microsoft.com/office/drawing/2014/main" id="{435B07C9-CE0F-F7AE-AAC8-CEB84EDBFD6C}"/>
              </a:ext>
            </a:extLst>
          </p:cNvPr>
          <p:cNvSpPr>
            <a:spLocks noGrp="1"/>
          </p:cNvSpPr>
          <p:nvPr>
            <p:ph type="pic" sz="quarter" idx="17"/>
          </p:nvPr>
        </p:nvSpPr>
        <p:spPr>
          <a:xfrm>
            <a:off x="5418381" y="1597819"/>
            <a:ext cx="1371600" cy="1371600"/>
          </a:xfrm>
          <a:prstGeom prst="ellipse">
            <a:avLst/>
          </a:prstGeom>
        </p:spPr>
        <p:txBody>
          <a:bodyPr/>
          <a:lstStyle/>
          <a:p>
            <a:endParaRPr lang="en-GB"/>
          </a:p>
        </p:txBody>
      </p:sp>
      <p:sp>
        <p:nvSpPr>
          <p:cNvPr id="15" name="Text Placeholder 8">
            <a:extLst>
              <a:ext uri="{FF2B5EF4-FFF2-40B4-BE49-F238E27FC236}">
                <a16:creationId xmlns:a16="http://schemas.microsoft.com/office/drawing/2014/main" id="{72909D5E-0ED2-1E7D-7D0A-1889267CB0EB}"/>
              </a:ext>
            </a:extLst>
          </p:cNvPr>
          <p:cNvSpPr>
            <a:spLocks noGrp="1"/>
          </p:cNvSpPr>
          <p:nvPr>
            <p:ph type="body" sz="quarter" idx="18" hasCustomPrompt="1"/>
          </p:nvPr>
        </p:nvSpPr>
        <p:spPr>
          <a:xfrm>
            <a:off x="4907536" y="3178355"/>
            <a:ext cx="2376928" cy="271989"/>
          </a:xfrm>
        </p:spPr>
        <p:txBody>
          <a:bodyPr>
            <a:normAutofit/>
          </a:bodyPr>
          <a:lstStyle>
            <a:lvl1pPr>
              <a:defRPr sz="1100" b="1">
                <a:solidFill>
                  <a:schemeClr val="bg1"/>
                </a:solidFill>
              </a:defRPr>
            </a:lvl1pPr>
          </a:lstStyle>
          <a:p>
            <a:pPr lvl="0"/>
            <a:r>
              <a:rPr lang="en-GB" err="1"/>
              <a:t>Vorname</a:t>
            </a:r>
            <a:r>
              <a:rPr lang="en-GB"/>
              <a:t> </a:t>
            </a:r>
            <a:r>
              <a:rPr lang="en-GB" err="1"/>
              <a:t>Nachname</a:t>
            </a:r>
            <a:endParaRPr lang="en-GB"/>
          </a:p>
        </p:txBody>
      </p:sp>
      <p:sp>
        <p:nvSpPr>
          <p:cNvPr id="16" name="Text Placeholder 8">
            <a:extLst>
              <a:ext uri="{FF2B5EF4-FFF2-40B4-BE49-F238E27FC236}">
                <a16:creationId xmlns:a16="http://schemas.microsoft.com/office/drawing/2014/main" id="{AFB99B93-8F6D-1C2F-F7A6-9F8D84B7B8EA}"/>
              </a:ext>
            </a:extLst>
          </p:cNvPr>
          <p:cNvSpPr>
            <a:spLocks noGrp="1"/>
          </p:cNvSpPr>
          <p:nvPr>
            <p:ph type="body" sz="quarter" idx="19" hasCustomPrompt="1"/>
          </p:nvPr>
        </p:nvSpPr>
        <p:spPr>
          <a:xfrm>
            <a:off x="4907536" y="3473204"/>
            <a:ext cx="2376928" cy="130104"/>
          </a:xfrm>
        </p:spPr>
        <p:txBody>
          <a:bodyPr anchor="ctr">
            <a:noAutofit/>
          </a:bodyPr>
          <a:lstStyle>
            <a:lvl1pPr>
              <a:defRPr sz="1100" b="0">
                <a:solidFill>
                  <a:schemeClr val="bg1"/>
                </a:solidFill>
              </a:defRPr>
            </a:lvl1pPr>
          </a:lstStyle>
          <a:p>
            <a:pPr lvl="0"/>
            <a:r>
              <a:rPr lang="en-GB"/>
              <a:t>Rolle</a:t>
            </a:r>
          </a:p>
        </p:txBody>
      </p:sp>
      <p:sp>
        <p:nvSpPr>
          <p:cNvPr id="17" name="Text Placeholder 8">
            <a:extLst>
              <a:ext uri="{FF2B5EF4-FFF2-40B4-BE49-F238E27FC236}">
                <a16:creationId xmlns:a16="http://schemas.microsoft.com/office/drawing/2014/main" id="{A3A60520-7B3E-09B5-7B2B-5289606F0257}"/>
              </a:ext>
            </a:extLst>
          </p:cNvPr>
          <p:cNvSpPr>
            <a:spLocks noGrp="1"/>
          </p:cNvSpPr>
          <p:nvPr>
            <p:ph type="body" sz="quarter" idx="20" hasCustomPrompt="1"/>
          </p:nvPr>
        </p:nvSpPr>
        <p:spPr>
          <a:xfrm>
            <a:off x="4907536" y="3626169"/>
            <a:ext cx="2376928" cy="97192"/>
          </a:xfrm>
        </p:spPr>
        <p:txBody>
          <a:bodyPr anchor="ctr">
            <a:noAutofit/>
          </a:bodyPr>
          <a:lstStyle>
            <a:lvl1pPr>
              <a:defRPr sz="1000" b="0">
                <a:solidFill>
                  <a:schemeClr val="bg1"/>
                </a:solidFill>
              </a:defRPr>
            </a:lvl1pPr>
          </a:lstStyle>
          <a:p>
            <a:pPr lvl="0"/>
            <a:r>
              <a:rPr lang="en-GB" err="1"/>
              <a:t>Firma</a:t>
            </a:r>
            <a:endParaRPr lang="en-GB"/>
          </a:p>
        </p:txBody>
      </p:sp>
      <p:sp>
        <p:nvSpPr>
          <p:cNvPr id="18" name="Picture Placeholder 4">
            <a:extLst>
              <a:ext uri="{FF2B5EF4-FFF2-40B4-BE49-F238E27FC236}">
                <a16:creationId xmlns:a16="http://schemas.microsoft.com/office/drawing/2014/main" id="{F87C1D8D-66D9-34CD-94A9-E1D32CDABC21}"/>
              </a:ext>
            </a:extLst>
          </p:cNvPr>
          <p:cNvSpPr>
            <a:spLocks noGrp="1"/>
          </p:cNvSpPr>
          <p:nvPr>
            <p:ph type="pic" sz="quarter" idx="21"/>
          </p:nvPr>
        </p:nvSpPr>
        <p:spPr>
          <a:xfrm>
            <a:off x="9658351" y="1597819"/>
            <a:ext cx="1371600" cy="1371600"/>
          </a:xfrm>
          <a:prstGeom prst="ellipse">
            <a:avLst/>
          </a:prstGeom>
        </p:spPr>
        <p:txBody>
          <a:bodyPr/>
          <a:lstStyle/>
          <a:p>
            <a:endParaRPr lang="en-GB"/>
          </a:p>
        </p:txBody>
      </p:sp>
      <p:sp>
        <p:nvSpPr>
          <p:cNvPr id="19" name="Text Placeholder 8">
            <a:extLst>
              <a:ext uri="{FF2B5EF4-FFF2-40B4-BE49-F238E27FC236}">
                <a16:creationId xmlns:a16="http://schemas.microsoft.com/office/drawing/2014/main" id="{D04FFFFB-6416-EE45-6956-85C201B69AE0}"/>
              </a:ext>
            </a:extLst>
          </p:cNvPr>
          <p:cNvSpPr>
            <a:spLocks noGrp="1"/>
          </p:cNvSpPr>
          <p:nvPr>
            <p:ph type="body" sz="quarter" idx="22" hasCustomPrompt="1"/>
          </p:nvPr>
        </p:nvSpPr>
        <p:spPr>
          <a:xfrm>
            <a:off x="9147506" y="3178355"/>
            <a:ext cx="2376928" cy="271989"/>
          </a:xfrm>
        </p:spPr>
        <p:txBody>
          <a:bodyPr>
            <a:normAutofit/>
          </a:bodyPr>
          <a:lstStyle>
            <a:lvl1pPr>
              <a:defRPr sz="1100" b="1">
                <a:solidFill>
                  <a:schemeClr val="bg1"/>
                </a:solidFill>
              </a:defRPr>
            </a:lvl1pPr>
          </a:lstStyle>
          <a:p>
            <a:pPr lvl="0"/>
            <a:r>
              <a:rPr lang="en-GB" err="1"/>
              <a:t>Vorname</a:t>
            </a:r>
            <a:r>
              <a:rPr lang="en-GB"/>
              <a:t> </a:t>
            </a:r>
            <a:r>
              <a:rPr lang="en-GB" err="1"/>
              <a:t>Nachname</a:t>
            </a:r>
            <a:endParaRPr lang="en-GB"/>
          </a:p>
        </p:txBody>
      </p:sp>
      <p:sp>
        <p:nvSpPr>
          <p:cNvPr id="20" name="Text Placeholder 8">
            <a:extLst>
              <a:ext uri="{FF2B5EF4-FFF2-40B4-BE49-F238E27FC236}">
                <a16:creationId xmlns:a16="http://schemas.microsoft.com/office/drawing/2014/main" id="{D9EF8D8F-315F-6C25-A973-A3F64877E8A3}"/>
              </a:ext>
            </a:extLst>
          </p:cNvPr>
          <p:cNvSpPr>
            <a:spLocks noGrp="1"/>
          </p:cNvSpPr>
          <p:nvPr>
            <p:ph type="body" sz="quarter" idx="23" hasCustomPrompt="1"/>
          </p:nvPr>
        </p:nvSpPr>
        <p:spPr>
          <a:xfrm>
            <a:off x="9147506" y="3473204"/>
            <a:ext cx="2376928" cy="130104"/>
          </a:xfrm>
        </p:spPr>
        <p:txBody>
          <a:bodyPr anchor="ctr">
            <a:noAutofit/>
          </a:bodyPr>
          <a:lstStyle>
            <a:lvl1pPr>
              <a:defRPr sz="1100" b="0">
                <a:solidFill>
                  <a:schemeClr val="bg1"/>
                </a:solidFill>
              </a:defRPr>
            </a:lvl1pPr>
          </a:lstStyle>
          <a:p>
            <a:pPr lvl="0"/>
            <a:r>
              <a:rPr lang="en-GB"/>
              <a:t>Rolle</a:t>
            </a:r>
          </a:p>
        </p:txBody>
      </p:sp>
      <p:sp>
        <p:nvSpPr>
          <p:cNvPr id="21" name="Text Placeholder 8">
            <a:extLst>
              <a:ext uri="{FF2B5EF4-FFF2-40B4-BE49-F238E27FC236}">
                <a16:creationId xmlns:a16="http://schemas.microsoft.com/office/drawing/2014/main" id="{C1B73F15-7E20-0610-F3F2-720969809725}"/>
              </a:ext>
            </a:extLst>
          </p:cNvPr>
          <p:cNvSpPr>
            <a:spLocks noGrp="1"/>
          </p:cNvSpPr>
          <p:nvPr>
            <p:ph type="body" sz="quarter" idx="24" hasCustomPrompt="1"/>
          </p:nvPr>
        </p:nvSpPr>
        <p:spPr>
          <a:xfrm>
            <a:off x="9147506" y="3626169"/>
            <a:ext cx="2376928" cy="97192"/>
          </a:xfrm>
        </p:spPr>
        <p:txBody>
          <a:bodyPr anchor="ctr">
            <a:noAutofit/>
          </a:bodyPr>
          <a:lstStyle>
            <a:lvl1pPr>
              <a:defRPr sz="1000" b="0">
                <a:solidFill>
                  <a:schemeClr val="bg1"/>
                </a:solidFill>
              </a:defRPr>
            </a:lvl1pPr>
          </a:lstStyle>
          <a:p>
            <a:pPr lvl="0"/>
            <a:r>
              <a:rPr lang="en-GB" err="1"/>
              <a:t>Firma</a:t>
            </a:r>
            <a:endParaRPr lang="en-GB"/>
          </a:p>
        </p:txBody>
      </p:sp>
      <p:sp>
        <p:nvSpPr>
          <p:cNvPr id="52" name="Picture Placeholder 4">
            <a:extLst>
              <a:ext uri="{FF2B5EF4-FFF2-40B4-BE49-F238E27FC236}">
                <a16:creationId xmlns:a16="http://schemas.microsoft.com/office/drawing/2014/main" id="{231FDC46-7A49-B0F9-EBCF-FE454DA90C9D}"/>
              </a:ext>
            </a:extLst>
          </p:cNvPr>
          <p:cNvSpPr>
            <a:spLocks noGrp="1"/>
          </p:cNvSpPr>
          <p:nvPr>
            <p:ph type="pic" sz="quarter" idx="29"/>
          </p:nvPr>
        </p:nvSpPr>
        <p:spPr>
          <a:xfrm>
            <a:off x="1178410" y="4075340"/>
            <a:ext cx="1371600" cy="1371600"/>
          </a:xfrm>
          <a:prstGeom prst="ellipse">
            <a:avLst/>
          </a:prstGeom>
        </p:spPr>
        <p:txBody>
          <a:bodyPr/>
          <a:lstStyle/>
          <a:p>
            <a:endParaRPr lang="en-GB"/>
          </a:p>
        </p:txBody>
      </p:sp>
      <p:sp>
        <p:nvSpPr>
          <p:cNvPr id="53" name="Text Placeholder 8">
            <a:extLst>
              <a:ext uri="{FF2B5EF4-FFF2-40B4-BE49-F238E27FC236}">
                <a16:creationId xmlns:a16="http://schemas.microsoft.com/office/drawing/2014/main" id="{6741600E-8DFD-A019-5A24-60A3DA5E353A}"/>
              </a:ext>
            </a:extLst>
          </p:cNvPr>
          <p:cNvSpPr>
            <a:spLocks noGrp="1"/>
          </p:cNvSpPr>
          <p:nvPr>
            <p:ph type="body" sz="quarter" idx="30" hasCustomPrompt="1"/>
          </p:nvPr>
        </p:nvSpPr>
        <p:spPr>
          <a:xfrm>
            <a:off x="667566" y="5655876"/>
            <a:ext cx="2376928" cy="271989"/>
          </a:xfrm>
        </p:spPr>
        <p:txBody>
          <a:bodyPr>
            <a:normAutofit/>
          </a:bodyPr>
          <a:lstStyle>
            <a:lvl1pPr>
              <a:defRPr sz="1100" b="1">
                <a:solidFill>
                  <a:schemeClr val="bg1"/>
                </a:solidFill>
              </a:defRPr>
            </a:lvl1pPr>
          </a:lstStyle>
          <a:p>
            <a:pPr lvl="0"/>
            <a:r>
              <a:rPr lang="en-GB" err="1"/>
              <a:t>Vorname</a:t>
            </a:r>
            <a:r>
              <a:rPr lang="en-GB"/>
              <a:t> </a:t>
            </a:r>
            <a:r>
              <a:rPr lang="en-GB" err="1"/>
              <a:t>Nachname</a:t>
            </a:r>
            <a:endParaRPr lang="en-GB"/>
          </a:p>
        </p:txBody>
      </p:sp>
      <p:sp>
        <p:nvSpPr>
          <p:cNvPr id="54" name="Text Placeholder 8">
            <a:extLst>
              <a:ext uri="{FF2B5EF4-FFF2-40B4-BE49-F238E27FC236}">
                <a16:creationId xmlns:a16="http://schemas.microsoft.com/office/drawing/2014/main" id="{9EA53CCF-B74A-C7BE-F598-A5C05462B6FB}"/>
              </a:ext>
            </a:extLst>
          </p:cNvPr>
          <p:cNvSpPr>
            <a:spLocks noGrp="1"/>
          </p:cNvSpPr>
          <p:nvPr>
            <p:ph type="body" sz="quarter" idx="31" hasCustomPrompt="1"/>
          </p:nvPr>
        </p:nvSpPr>
        <p:spPr>
          <a:xfrm>
            <a:off x="667566" y="5950726"/>
            <a:ext cx="2376928" cy="130104"/>
          </a:xfrm>
        </p:spPr>
        <p:txBody>
          <a:bodyPr anchor="ctr">
            <a:noAutofit/>
          </a:bodyPr>
          <a:lstStyle>
            <a:lvl1pPr>
              <a:defRPr sz="1100" b="0">
                <a:solidFill>
                  <a:schemeClr val="bg1"/>
                </a:solidFill>
              </a:defRPr>
            </a:lvl1pPr>
          </a:lstStyle>
          <a:p>
            <a:pPr lvl="0"/>
            <a:r>
              <a:rPr lang="en-GB"/>
              <a:t>Rolle</a:t>
            </a:r>
          </a:p>
        </p:txBody>
      </p:sp>
      <p:sp>
        <p:nvSpPr>
          <p:cNvPr id="55" name="Text Placeholder 8">
            <a:extLst>
              <a:ext uri="{FF2B5EF4-FFF2-40B4-BE49-F238E27FC236}">
                <a16:creationId xmlns:a16="http://schemas.microsoft.com/office/drawing/2014/main" id="{97571A12-FFC2-C1E7-9107-78AA25501D57}"/>
              </a:ext>
            </a:extLst>
          </p:cNvPr>
          <p:cNvSpPr>
            <a:spLocks noGrp="1"/>
          </p:cNvSpPr>
          <p:nvPr>
            <p:ph type="body" sz="quarter" idx="32" hasCustomPrompt="1"/>
          </p:nvPr>
        </p:nvSpPr>
        <p:spPr>
          <a:xfrm>
            <a:off x="667566" y="6103689"/>
            <a:ext cx="2376928" cy="97192"/>
          </a:xfrm>
        </p:spPr>
        <p:txBody>
          <a:bodyPr anchor="ctr">
            <a:noAutofit/>
          </a:bodyPr>
          <a:lstStyle>
            <a:lvl1pPr>
              <a:defRPr sz="1000" b="0">
                <a:solidFill>
                  <a:schemeClr val="bg1"/>
                </a:solidFill>
              </a:defRPr>
            </a:lvl1pPr>
          </a:lstStyle>
          <a:p>
            <a:pPr lvl="0"/>
            <a:r>
              <a:rPr lang="en-GB" err="1"/>
              <a:t>Firma</a:t>
            </a:r>
            <a:endParaRPr lang="en-GB"/>
          </a:p>
        </p:txBody>
      </p:sp>
      <p:sp>
        <p:nvSpPr>
          <p:cNvPr id="56" name="Picture Placeholder 4">
            <a:extLst>
              <a:ext uri="{FF2B5EF4-FFF2-40B4-BE49-F238E27FC236}">
                <a16:creationId xmlns:a16="http://schemas.microsoft.com/office/drawing/2014/main" id="{8FD83561-1DC4-6D57-E759-3C9AEB5F1B36}"/>
              </a:ext>
            </a:extLst>
          </p:cNvPr>
          <p:cNvSpPr>
            <a:spLocks noGrp="1"/>
          </p:cNvSpPr>
          <p:nvPr>
            <p:ph type="pic" sz="quarter" idx="33"/>
          </p:nvPr>
        </p:nvSpPr>
        <p:spPr>
          <a:xfrm>
            <a:off x="5418381" y="4075340"/>
            <a:ext cx="1371600" cy="1371600"/>
          </a:xfrm>
          <a:prstGeom prst="ellipse">
            <a:avLst/>
          </a:prstGeom>
        </p:spPr>
        <p:txBody>
          <a:bodyPr/>
          <a:lstStyle/>
          <a:p>
            <a:endParaRPr lang="en-GB"/>
          </a:p>
        </p:txBody>
      </p:sp>
      <p:sp>
        <p:nvSpPr>
          <p:cNvPr id="57" name="Text Placeholder 8">
            <a:extLst>
              <a:ext uri="{FF2B5EF4-FFF2-40B4-BE49-F238E27FC236}">
                <a16:creationId xmlns:a16="http://schemas.microsoft.com/office/drawing/2014/main" id="{0F80DD71-AB7F-C331-8483-0FE2260EA820}"/>
              </a:ext>
            </a:extLst>
          </p:cNvPr>
          <p:cNvSpPr>
            <a:spLocks noGrp="1"/>
          </p:cNvSpPr>
          <p:nvPr>
            <p:ph type="body" sz="quarter" idx="34" hasCustomPrompt="1"/>
          </p:nvPr>
        </p:nvSpPr>
        <p:spPr>
          <a:xfrm>
            <a:off x="4907536" y="5655876"/>
            <a:ext cx="2376928" cy="271989"/>
          </a:xfrm>
        </p:spPr>
        <p:txBody>
          <a:bodyPr>
            <a:normAutofit/>
          </a:bodyPr>
          <a:lstStyle>
            <a:lvl1pPr>
              <a:defRPr sz="1100" b="1">
                <a:solidFill>
                  <a:schemeClr val="bg1"/>
                </a:solidFill>
              </a:defRPr>
            </a:lvl1pPr>
          </a:lstStyle>
          <a:p>
            <a:pPr lvl="0"/>
            <a:r>
              <a:rPr lang="en-GB" err="1"/>
              <a:t>Vorname</a:t>
            </a:r>
            <a:r>
              <a:rPr lang="en-GB"/>
              <a:t> </a:t>
            </a:r>
            <a:r>
              <a:rPr lang="en-GB" err="1"/>
              <a:t>Nachname</a:t>
            </a:r>
            <a:endParaRPr lang="en-GB"/>
          </a:p>
        </p:txBody>
      </p:sp>
      <p:sp>
        <p:nvSpPr>
          <p:cNvPr id="58" name="Text Placeholder 8">
            <a:extLst>
              <a:ext uri="{FF2B5EF4-FFF2-40B4-BE49-F238E27FC236}">
                <a16:creationId xmlns:a16="http://schemas.microsoft.com/office/drawing/2014/main" id="{D3E46FE0-0141-40A7-0859-AA1AB821CAAD}"/>
              </a:ext>
            </a:extLst>
          </p:cNvPr>
          <p:cNvSpPr>
            <a:spLocks noGrp="1"/>
          </p:cNvSpPr>
          <p:nvPr>
            <p:ph type="body" sz="quarter" idx="35" hasCustomPrompt="1"/>
          </p:nvPr>
        </p:nvSpPr>
        <p:spPr>
          <a:xfrm>
            <a:off x="4907536" y="5950726"/>
            <a:ext cx="2376928" cy="130104"/>
          </a:xfrm>
        </p:spPr>
        <p:txBody>
          <a:bodyPr anchor="ctr">
            <a:noAutofit/>
          </a:bodyPr>
          <a:lstStyle>
            <a:lvl1pPr>
              <a:defRPr sz="1100" b="0">
                <a:solidFill>
                  <a:schemeClr val="bg1"/>
                </a:solidFill>
              </a:defRPr>
            </a:lvl1pPr>
          </a:lstStyle>
          <a:p>
            <a:pPr lvl="0"/>
            <a:r>
              <a:rPr lang="en-GB"/>
              <a:t>Rolle</a:t>
            </a:r>
          </a:p>
        </p:txBody>
      </p:sp>
      <p:sp>
        <p:nvSpPr>
          <p:cNvPr id="59" name="Text Placeholder 8">
            <a:extLst>
              <a:ext uri="{FF2B5EF4-FFF2-40B4-BE49-F238E27FC236}">
                <a16:creationId xmlns:a16="http://schemas.microsoft.com/office/drawing/2014/main" id="{A41F2AF1-5375-33A4-08A4-24EB93722737}"/>
              </a:ext>
            </a:extLst>
          </p:cNvPr>
          <p:cNvSpPr>
            <a:spLocks noGrp="1"/>
          </p:cNvSpPr>
          <p:nvPr>
            <p:ph type="body" sz="quarter" idx="36" hasCustomPrompt="1"/>
          </p:nvPr>
        </p:nvSpPr>
        <p:spPr>
          <a:xfrm>
            <a:off x="4907536" y="6103689"/>
            <a:ext cx="2376928" cy="97192"/>
          </a:xfrm>
        </p:spPr>
        <p:txBody>
          <a:bodyPr anchor="ctr">
            <a:noAutofit/>
          </a:bodyPr>
          <a:lstStyle>
            <a:lvl1pPr>
              <a:defRPr sz="1000" b="0">
                <a:solidFill>
                  <a:schemeClr val="bg1"/>
                </a:solidFill>
              </a:defRPr>
            </a:lvl1pPr>
          </a:lstStyle>
          <a:p>
            <a:pPr lvl="0"/>
            <a:r>
              <a:rPr lang="en-GB" err="1"/>
              <a:t>Firma</a:t>
            </a:r>
            <a:endParaRPr lang="en-GB"/>
          </a:p>
        </p:txBody>
      </p:sp>
      <p:sp>
        <p:nvSpPr>
          <p:cNvPr id="60" name="Picture Placeholder 4">
            <a:extLst>
              <a:ext uri="{FF2B5EF4-FFF2-40B4-BE49-F238E27FC236}">
                <a16:creationId xmlns:a16="http://schemas.microsoft.com/office/drawing/2014/main" id="{F959FD30-321B-7A96-C699-A87FA9A4287E}"/>
              </a:ext>
            </a:extLst>
          </p:cNvPr>
          <p:cNvSpPr>
            <a:spLocks noGrp="1"/>
          </p:cNvSpPr>
          <p:nvPr>
            <p:ph type="pic" sz="quarter" idx="37"/>
          </p:nvPr>
        </p:nvSpPr>
        <p:spPr>
          <a:xfrm>
            <a:off x="9658351" y="4075340"/>
            <a:ext cx="1371600" cy="1371600"/>
          </a:xfrm>
          <a:prstGeom prst="ellipse">
            <a:avLst/>
          </a:prstGeom>
        </p:spPr>
        <p:txBody>
          <a:bodyPr/>
          <a:lstStyle/>
          <a:p>
            <a:endParaRPr lang="en-GB"/>
          </a:p>
        </p:txBody>
      </p:sp>
      <p:sp>
        <p:nvSpPr>
          <p:cNvPr id="61" name="Text Placeholder 8">
            <a:extLst>
              <a:ext uri="{FF2B5EF4-FFF2-40B4-BE49-F238E27FC236}">
                <a16:creationId xmlns:a16="http://schemas.microsoft.com/office/drawing/2014/main" id="{D74C6DCF-5051-EFF2-F8FD-B51EDFD154BE}"/>
              </a:ext>
            </a:extLst>
          </p:cNvPr>
          <p:cNvSpPr>
            <a:spLocks noGrp="1"/>
          </p:cNvSpPr>
          <p:nvPr>
            <p:ph type="body" sz="quarter" idx="38" hasCustomPrompt="1"/>
          </p:nvPr>
        </p:nvSpPr>
        <p:spPr>
          <a:xfrm>
            <a:off x="9147506" y="5655876"/>
            <a:ext cx="2376928" cy="271989"/>
          </a:xfrm>
        </p:spPr>
        <p:txBody>
          <a:bodyPr>
            <a:normAutofit/>
          </a:bodyPr>
          <a:lstStyle>
            <a:lvl1pPr>
              <a:defRPr sz="1100" b="1">
                <a:solidFill>
                  <a:schemeClr val="bg1"/>
                </a:solidFill>
              </a:defRPr>
            </a:lvl1pPr>
          </a:lstStyle>
          <a:p>
            <a:pPr lvl="0"/>
            <a:r>
              <a:rPr lang="en-GB" err="1"/>
              <a:t>Vorname</a:t>
            </a:r>
            <a:r>
              <a:rPr lang="en-GB"/>
              <a:t> </a:t>
            </a:r>
            <a:r>
              <a:rPr lang="en-GB" err="1"/>
              <a:t>Nachname</a:t>
            </a:r>
            <a:endParaRPr lang="en-GB"/>
          </a:p>
        </p:txBody>
      </p:sp>
      <p:sp>
        <p:nvSpPr>
          <p:cNvPr id="62" name="Text Placeholder 8">
            <a:extLst>
              <a:ext uri="{FF2B5EF4-FFF2-40B4-BE49-F238E27FC236}">
                <a16:creationId xmlns:a16="http://schemas.microsoft.com/office/drawing/2014/main" id="{81CA7C93-2D2E-7CB0-A07F-91DA91B74F1E}"/>
              </a:ext>
            </a:extLst>
          </p:cNvPr>
          <p:cNvSpPr>
            <a:spLocks noGrp="1"/>
          </p:cNvSpPr>
          <p:nvPr>
            <p:ph type="body" sz="quarter" idx="39" hasCustomPrompt="1"/>
          </p:nvPr>
        </p:nvSpPr>
        <p:spPr>
          <a:xfrm>
            <a:off x="9147506" y="5950726"/>
            <a:ext cx="2376928" cy="130104"/>
          </a:xfrm>
        </p:spPr>
        <p:txBody>
          <a:bodyPr anchor="ctr">
            <a:noAutofit/>
          </a:bodyPr>
          <a:lstStyle>
            <a:lvl1pPr>
              <a:defRPr sz="1100" b="0">
                <a:solidFill>
                  <a:schemeClr val="bg1"/>
                </a:solidFill>
              </a:defRPr>
            </a:lvl1pPr>
          </a:lstStyle>
          <a:p>
            <a:pPr lvl="0"/>
            <a:r>
              <a:rPr lang="en-GB"/>
              <a:t>Rolle</a:t>
            </a:r>
          </a:p>
        </p:txBody>
      </p:sp>
      <p:sp>
        <p:nvSpPr>
          <p:cNvPr id="63" name="Text Placeholder 8">
            <a:extLst>
              <a:ext uri="{FF2B5EF4-FFF2-40B4-BE49-F238E27FC236}">
                <a16:creationId xmlns:a16="http://schemas.microsoft.com/office/drawing/2014/main" id="{911D52EF-D730-AF89-D938-8798197C335F}"/>
              </a:ext>
            </a:extLst>
          </p:cNvPr>
          <p:cNvSpPr>
            <a:spLocks noGrp="1"/>
          </p:cNvSpPr>
          <p:nvPr>
            <p:ph type="body" sz="quarter" idx="40" hasCustomPrompt="1"/>
          </p:nvPr>
        </p:nvSpPr>
        <p:spPr>
          <a:xfrm>
            <a:off x="9147506" y="6103689"/>
            <a:ext cx="2376928" cy="97192"/>
          </a:xfrm>
        </p:spPr>
        <p:txBody>
          <a:bodyPr anchor="ctr">
            <a:noAutofit/>
          </a:bodyPr>
          <a:lstStyle>
            <a:lvl1pPr>
              <a:defRPr sz="1000" b="0">
                <a:solidFill>
                  <a:schemeClr val="bg1"/>
                </a:solidFill>
              </a:defRPr>
            </a:lvl1pPr>
          </a:lstStyle>
          <a:p>
            <a:pPr lvl="0"/>
            <a:r>
              <a:rPr lang="en-GB" err="1"/>
              <a:t>Firma</a:t>
            </a:r>
            <a:endParaRPr lang="en-GB"/>
          </a:p>
        </p:txBody>
      </p:sp>
      <p:sp>
        <p:nvSpPr>
          <p:cNvPr id="12" name="Footer Placeholder 11">
            <a:extLst>
              <a:ext uri="{FF2B5EF4-FFF2-40B4-BE49-F238E27FC236}">
                <a16:creationId xmlns:a16="http://schemas.microsoft.com/office/drawing/2014/main" id="{22B268A9-3390-4413-1553-2CAFF21C6191}"/>
              </a:ext>
            </a:extLst>
          </p:cNvPr>
          <p:cNvSpPr>
            <a:spLocks noGrp="1"/>
          </p:cNvSpPr>
          <p:nvPr>
            <p:ph type="ftr" sz="quarter" idx="41"/>
          </p:nvPr>
        </p:nvSpPr>
        <p:spPr/>
        <p:txBody>
          <a:bodyPr/>
          <a:lstStyle>
            <a:lvl1pPr>
              <a:defRPr>
                <a:solidFill>
                  <a:schemeClr val="bg1"/>
                </a:solidFill>
              </a:defRPr>
            </a:lvl1pPr>
          </a:lstStyle>
          <a:p>
            <a:r>
              <a:rPr lang="en-GB"/>
              <a:t>byte – Bayerische Agentur für Digitales</a:t>
            </a:r>
          </a:p>
        </p:txBody>
      </p:sp>
      <p:sp>
        <p:nvSpPr>
          <p:cNvPr id="22" name="Slide Number Placeholder 21">
            <a:extLst>
              <a:ext uri="{FF2B5EF4-FFF2-40B4-BE49-F238E27FC236}">
                <a16:creationId xmlns:a16="http://schemas.microsoft.com/office/drawing/2014/main" id="{0B2719EE-F27E-9ABA-A760-0C06AE118A26}"/>
              </a:ext>
            </a:extLst>
          </p:cNvPr>
          <p:cNvSpPr>
            <a:spLocks noGrp="1"/>
          </p:cNvSpPr>
          <p:nvPr>
            <p:ph type="sldNum" sz="quarter" idx="42"/>
          </p:nvPr>
        </p:nvSpPr>
        <p:spPr/>
        <p:txBody>
          <a:bodyPr/>
          <a:lstStyle>
            <a:lvl1pPr>
              <a:defRPr>
                <a:solidFill>
                  <a:schemeClr val="bg1"/>
                </a:solidFill>
              </a:defRPr>
            </a:lvl1pPr>
          </a:lstStyle>
          <a:p>
            <a:fld id="{0016BBAD-09BD-6243-A9CA-D1F4B193196B}" type="slidenum">
              <a:rPr lang="en-GB" smtClean="0"/>
              <a:pPr/>
              <a:t>‹Nr.›</a:t>
            </a:fld>
            <a:endParaRPr lang="en-GB"/>
          </a:p>
        </p:txBody>
      </p:sp>
      <p:sp>
        <p:nvSpPr>
          <p:cNvPr id="24" name="Text Placeholder 7">
            <a:extLst>
              <a:ext uri="{FF2B5EF4-FFF2-40B4-BE49-F238E27FC236}">
                <a16:creationId xmlns:a16="http://schemas.microsoft.com/office/drawing/2014/main" id="{3575D5BB-F34A-6ACF-D459-B9F75D525865}"/>
              </a:ext>
            </a:extLst>
          </p:cNvPr>
          <p:cNvSpPr>
            <a:spLocks noGrp="1"/>
          </p:cNvSpPr>
          <p:nvPr>
            <p:ph type="body" sz="quarter" idx="43"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en-GB" err="1"/>
              <a:t>Kapitel</a:t>
            </a:r>
            <a:r>
              <a:rPr lang="en-GB"/>
              <a:t> ➝ Thema</a:t>
            </a:r>
          </a:p>
        </p:txBody>
      </p:sp>
      <p:cxnSp>
        <p:nvCxnSpPr>
          <p:cNvPr id="25" name="Gerader Verbinder 15">
            <a:extLst>
              <a:ext uri="{FF2B5EF4-FFF2-40B4-BE49-F238E27FC236}">
                <a16:creationId xmlns:a16="http://schemas.microsoft.com/office/drawing/2014/main" id="{E4740336-CDD3-6EFD-5CA7-348FB0A1DBF8}"/>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2518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folie_hel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32361684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5" name="Picture Placeholder 4">
            <a:extLst>
              <a:ext uri="{FF2B5EF4-FFF2-40B4-BE49-F238E27FC236}">
                <a16:creationId xmlns:a16="http://schemas.microsoft.com/office/drawing/2014/main" id="{1E2F502F-1887-839D-300C-7A0EA339972D}"/>
              </a:ext>
            </a:extLst>
          </p:cNvPr>
          <p:cNvSpPr>
            <a:spLocks noGrp="1"/>
          </p:cNvSpPr>
          <p:nvPr>
            <p:ph type="pic" sz="quarter" idx="13"/>
          </p:nvPr>
        </p:nvSpPr>
        <p:spPr>
          <a:xfrm>
            <a:off x="1178410" y="1597819"/>
            <a:ext cx="1371600" cy="1371600"/>
          </a:xfrm>
          <a:prstGeom prst="ellipse">
            <a:avLst/>
          </a:prstGeom>
        </p:spPr>
        <p:txBody>
          <a:bodyPr/>
          <a:lstStyle/>
          <a:p>
            <a:endParaRPr lang="en-GB"/>
          </a:p>
        </p:txBody>
      </p:sp>
      <p:sp>
        <p:nvSpPr>
          <p:cNvPr id="9" name="Text Placeholder 8">
            <a:extLst>
              <a:ext uri="{FF2B5EF4-FFF2-40B4-BE49-F238E27FC236}">
                <a16:creationId xmlns:a16="http://schemas.microsoft.com/office/drawing/2014/main" id="{718420BF-676E-6493-8B13-E7879130AC3F}"/>
              </a:ext>
            </a:extLst>
          </p:cNvPr>
          <p:cNvSpPr>
            <a:spLocks noGrp="1"/>
          </p:cNvSpPr>
          <p:nvPr>
            <p:ph type="body" sz="quarter" idx="14" hasCustomPrompt="1"/>
          </p:nvPr>
        </p:nvSpPr>
        <p:spPr>
          <a:xfrm>
            <a:off x="667566" y="3178355"/>
            <a:ext cx="2376928" cy="271989"/>
          </a:xfrm>
        </p:spPr>
        <p:txBody>
          <a:bodyPr>
            <a:normAutofit/>
          </a:bodyPr>
          <a:lstStyle>
            <a:lvl1pPr>
              <a:defRPr sz="1100" b="1"/>
            </a:lvl1pPr>
          </a:lstStyle>
          <a:p>
            <a:pPr lvl="0"/>
            <a:r>
              <a:rPr lang="en-GB" err="1"/>
              <a:t>Vorname</a:t>
            </a:r>
            <a:r>
              <a:rPr lang="en-GB"/>
              <a:t> </a:t>
            </a:r>
            <a:r>
              <a:rPr lang="en-GB" err="1"/>
              <a:t>Nachname</a:t>
            </a:r>
            <a:endParaRPr lang="en-GB"/>
          </a:p>
        </p:txBody>
      </p:sp>
      <p:sp>
        <p:nvSpPr>
          <p:cNvPr id="10" name="Text Placeholder 8">
            <a:extLst>
              <a:ext uri="{FF2B5EF4-FFF2-40B4-BE49-F238E27FC236}">
                <a16:creationId xmlns:a16="http://schemas.microsoft.com/office/drawing/2014/main" id="{FE5C8686-A951-62CE-BBCD-3049CED2B80A}"/>
              </a:ext>
            </a:extLst>
          </p:cNvPr>
          <p:cNvSpPr>
            <a:spLocks noGrp="1"/>
          </p:cNvSpPr>
          <p:nvPr>
            <p:ph type="body" sz="quarter" idx="15" hasCustomPrompt="1"/>
          </p:nvPr>
        </p:nvSpPr>
        <p:spPr>
          <a:xfrm>
            <a:off x="667566" y="3473204"/>
            <a:ext cx="2376928" cy="130104"/>
          </a:xfrm>
        </p:spPr>
        <p:txBody>
          <a:bodyPr anchor="ctr">
            <a:noAutofit/>
          </a:bodyPr>
          <a:lstStyle>
            <a:lvl1pPr>
              <a:defRPr sz="1100" b="0"/>
            </a:lvl1pPr>
          </a:lstStyle>
          <a:p>
            <a:pPr lvl="0"/>
            <a:r>
              <a:rPr lang="en-GB"/>
              <a:t>Rolle</a:t>
            </a:r>
          </a:p>
        </p:txBody>
      </p:sp>
      <p:sp>
        <p:nvSpPr>
          <p:cNvPr id="13" name="Text Placeholder 8">
            <a:extLst>
              <a:ext uri="{FF2B5EF4-FFF2-40B4-BE49-F238E27FC236}">
                <a16:creationId xmlns:a16="http://schemas.microsoft.com/office/drawing/2014/main" id="{150BE484-9FFD-C4CD-DBF9-4C787013D077}"/>
              </a:ext>
            </a:extLst>
          </p:cNvPr>
          <p:cNvSpPr>
            <a:spLocks noGrp="1"/>
          </p:cNvSpPr>
          <p:nvPr>
            <p:ph type="body" sz="quarter" idx="16" hasCustomPrompt="1"/>
          </p:nvPr>
        </p:nvSpPr>
        <p:spPr>
          <a:xfrm>
            <a:off x="667566" y="3626169"/>
            <a:ext cx="2376928" cy="97192"/>
          </a:xfrm>
        </p:spPr>
        <p:txBody>
          <a:bodyPr anchor="ctr">
            <a:noAutofit/>
          </a:bodyPr>
          <a:lstStyle>
            <a:lvl1pPr>
              <a:defRPr sz="1000" b="0">
                <a:solidFill>
                  <a:schemeClr val="tx1">
                    <a:lumMod val="50000"/>
                    <a:lumOff val="50000"/>
                  </a:schemeClr>
                </a:solidFill>
              </a:defRPr>
            </a:lvl1pPr>
          </a:lstStyle>
          <a:p>
            <a:pPr lvl="0"/>
            <a:r>
              <a:rPr lang="en-GB" err="1"/>
              <a:t>Firma</a:t>
            </a:r>
            <a:endParaRPr lang="en-GB"/>
          </a:p>
        </p:txBody>
      </p:sp>
      <p:sp>
        <p:nvSpPr>
          <p:cNvPr id="14" name="Picture Placeholder 4">
            <a:extLst>
              <a:ext uri="{FF2B5EF4-FFF2-40B4-BE49-F238E27FC236}">
                <a16:creationId xmlns:a16="http://schemas.microsoft.com/office/drawing/2014/main" id="{435B07C9-CE0F-F7AE-AAC8-CEB84EDBFD6C}"/>
              </a:ext>
            </a:extLst>
          </p:cNvPr>
          <p:cNvSpPr>
            <a:spLocks noGrp="1"/>
          </p:cNvSpPr>
          <p:nvPr>
            <p:ph type="pic" sz="quarter" idx="17"/>
          </p:nvPr>
        </p:nvSpPr>
        <p:spPr>
          <a:xfrm>
            <a:off x="5418381" y="1597819"/>
            <a:ext cx="1371600" cy="1371600"/>
          </a:xfrm>
          <a:prstGeom prst="ellipse">
            <a:avLst/>
          </a:prstGeom>
        </p:spPr>
        <p:txBody>
          <a:bodyPr/>
          <a:lstStyle/>
          <a:p>
            <a:endParaRPr lang="en-GB"/>
          </a:p>
        </p:txBody>
      </p:sp>
      <p:sp>
        <p:nvSpPr>
          <p:cNvPr id="15" name="Text Placeholder 8">
            <a:extLst>
              <a:ext uri="{FF2B5EF4-FFF2-40B4-BE49-F238E27FC236}">
                <a16:creationId xmlns:a16="http://schemas.microsoft.com/office/drawing/2014/main" id="{72909D5E-0ED2-1E7D-7D0A-1889267CB0EB}"/>
              </a:ext>
            </a:extLst>
          </p:cNvPr>
          <p:cNvSpPr>
            <a:spLocks noGrp="1"/>
          </p:cNvSpPr>
          <p:nvPr>
            <p:ph type="body" sz="quarter" idx="18" hasCustomPrompt="1"/>
          </p:nvPr>
        </p:nvSpPr>
        <p:spPr>
          <a:xfrm>
            <a:off x="4907536" y="3178355"/>
            <a:ext cx="2376928" cy="271989"/>
          </a:xfrm>
        </p:spPr>
        <p:txBody>
          <a:bodyPr>
            <a:normAutofit/>
          </a:bodyPr>
          <a:lstStyle>
            <a:lvl1pPr>
              <a:defRPr sz="1100" b="1"/>
            </a:lvl1pPr>
          </a:lstStyle>
          <a:p>
            <a:pPr lvl="0"/>
            <a:r>
              <a:rPr lang="en-GB" err="1"/>
              <a:t>Vorname</a:t>
            </a:r>
            <a:r>
              <a:rPr lang="en-GB"/>
              <a:t> </a:t>
            </a:r>
            <a:r>
              <a:rPr lang="en-GB" err="1"/>
              <a:t>Nachname</a:t>
            </a:r>
            <a:endParaRPr lang="en-GB"/>
          </a:p>
        </p:txBody>
      </p:sp>
      <p:sp>
        <p:nvSpPr>
          <p:cNvPr id="16" name="Text Placeholder 8">
            <a:extLst>
              <a:ext uri="{FF2B5EF4-FFF2-40B4-BE49-F238E27FC236}">
                <a16:creationId xmlns:a16="http://schemas.microsoft.com/office/drawing/2014/main" id="{AFB99B93-8F6D-1C2F-F7A6-9F8D84B7B8EA}"/>
              </a:ext>
            </a:extLst>
          </p:cNvPr>
          <p:cNvSpPr>
            <a:spLocks noGrp="1"/>
          </p:cNvSpPr>
          <p:nvPr>
            <p:ph type="body" sz="quarter" idx="19" hasCustomPrompt="1"/>
          </p:nvPr>
        </p:nvSpPr>
        <p:spPr>
          <a:xfrm>
            <a:off x="4907536" y="3473204"/>
            <a:ext cx="2376928" cy="130104"/>
          </a:xfrm>
        </p:spPr>
        <p:txBody>
          <a:bodyPr anchor="ctr">
            <a:noAutofit/>
          </a:bodyPr>
          <a:lstStyle>
            <a:lvl1pPr>
              <a:defRPr sz="1100" b="0"/>
            </a:lvl1pPr>
          </a:lstStyle>
          <a:p>
            <a:pPr lvl="0"/>
            <a:r>
              <a:rPr lang="en-GB"/>
              <a:t>Rolle</a:t>
            </a:r>
          </a:p>
        </p:txBody>
      </p:sp>
      <p:sp>
        <p:nvSpPr>
          <p:cNvPr id="17" name="Text Placeholder 8">
            <a:extLst>
              <a:ext uri="{FF2B5EF4-FFF2-40B4-BE49-F238E27FC236}">
                <a16:creationId xmlns:a16="http://schemas.microsoft.com/office/drawing/2014/main" id="{A3A60520-7B3E-09B5-7B2B-5289606F0257}"/>
              </a:ext>
            </a:extLst>
          </p:cNvPr>
          <p:cNvSpPr>
            <a:spLocks noGrp="1"/>
          </p:cNvSpPr>
          <p:nvPr>
            <p:ph type="body" sz="quarter" idx="20" hasCustomPrompt="1"/>
          </p:nvPr>
        </p:nvSpPr>
        <p:spPr>
          <a:xfrm>
            <a:off x="4907536" y="3626169"/>
            <a:ext cx="2376928" cy="97192"/>
          </a:xfrm>
        </p:spPr>
        <p:txBody>
          <a:bodyPr anchor="ctr">
            <a:noAutofit/>
          </a:bodyPr>
          <a:lstStyle>
            <a:lvl1pPr>
              <a:defRPr sz="1000" b="0">
                <a:solidFill>
                  <a:schemeClr val="tx1">
                    <a:lumMod val="50000"/>
                    <a:lumOff val="50000"/>
                  </a:schemeClr>
                </a:solidFill>
              </a:defRPr>
            </a:lvl1pPr>
          </a:lstStyle>
          <a:p>
            <a:pPr lvl="0"/>
            <a:r>
              <a:rPr lang="en-GB" err="1"/>
              <a:t>Firma</a:t>
            </a:r>
            <a:endParaRPr lang="en-GB"/>
          </a:p>
        </p:txBody>
      </p:sp>
      <p:sp>
        <p:nvSpPr>
          <p:cNvPr id="18" name="Picture Placeholder 4">
            <a:extLst>
              <a:ext uri="{FF2B5EF4-FFF2-40B4-BE49-F238E27FC236}">
                <a16:creationId xmlns:a16="http://schemas.microsoft.com/office/drawing/2014/main" id="{F87C1D8D-66D9-34CD-94A9-E1D32CDABC21}"/>
              </a:ext>
            </a:extLst>
          </p:cNvPr>
          <p:cNvSpPr>
            <a:spLocks noGrp="1"/>
          </p:cNvSpPr>
          <p:nvPr>
            <p:ph type="pic" sz="quarter" idx="21"/>
          </p:nvPr>
        </p:nvSpPr>
        <p:spPr>
          <a:xfrm>
            <a:off x="9658351" y="1597819"/>
            <a:ext cx="1371600" cy="1371600"/>
          </a:xfrm>
          <a:prstGeom prst="ellipse">
            <a:avLst/>
          </a:prstGeom>
        </p:spPr>
        <p:txBody>
          <a:bodyPr/>
          <a:lstStyle/>
          <a:p>
            <a:endParaRPr lang="en-GB"/>
          </a:p>
        </p:txBody>
      </p:sp>
      <p:sp>
        <p:nvSpPr>
          <p:cNvPr id="19" name="Text Placeholder 8">
            <a:extLst>
              <a:ext uri="{FF2B5EF4-FFF2-40B4-BE49-F238E27FC236}">
                <a16:creationId xmlns:a16="http://schemas.microsoft.com/office/drawing/2014/main" id="{D04FFFFB-6416-EE45-6956-85C201B69AE0}"/>
              </a:ext>
            </a:extLst>
          </p:cNvPr>
          <p:cNvSpPr>
            <a:spLocks noGrp="1"/>
          </p:cNvSpPr>
          <p:nvPr>
            <p:ph type="body" sz="quarter" idx="22" hasCustomPrompt="1"/>
          </p:nvPr>
        </p:nvSpPr>
        <p:spPr>
          <a:xfrm>
            <a:off x="9147506" y="3178355"/>
            <a:ext cx="2376928" cy="271989"/>
          </a:xfrm>
        </p:spPr>
        <p:txBody>
          <a:bodyPr>
            <a:normAutofit/>
          </a:bodyPr>
          <a:lstStyle>
            <a:lvl1pPr>
              <a:defRPr sz="1100" b="1"/>
            </a:lvl1pPr>
          </a:lstStyle>
          <a:p>
            <a:pPr lvl="0"/>
            <a:r>
              <a:rPr lang="en-GB" err="1"/>
              <a:t>Vorname</a:t>
            </a:r>
            <a:r>
              <a:rPr lang="en-GB"/>
              <a:t> </a:t>
            </a:r>
            <a:r>
              <a:rPr lang="en-GB" err="1"/>
              <a:t>Nachname</a:t>
            </a:r>
            <a:endParaRPr lang="en-GB"/>
          </a:p>
        </p:txBody>
      </p:sp>
      <p:sp>
        <p:nvSpPr>
          <p:cNvPr id="20" name="Text Placeholder 8">
            <a:extLst>
              <a:ext uri="{FF2B5EF4-FFF2-40B4-BE49-F238E27FC236}">
                <a16:creationId xmlns:a16="http://schemas.microsoft.com/office/drawing/2014/main" id="{D9EF8D8F-315F-6C25-A973-A3F64877E8A3}"/>
              </a:ext>
            </a:extLst>
          </p:cNvPr>
          <p:cNvSpPr>
            <a:spLocks noGrp="1"/>
          </p:cNvSpPr>
          <p:nvPr>
            <p:ph type="body" sz="quarter" idx="23" hasCustomPrompt="1"/>
          </p:nvPr>
        </p:nvSpPr>
        <p:spPr>
          <a:xfrm>
            <a:off x="9147506" y="3473204"/>
            <a:ext cx="2376928" cy="130104"/>
          </a:xfrm>
        </p:spPr>
        <p:txBody>
          <a:bodyPr anchor="ctr">
            <a:noAutofit/>
          </a:bodyPr>
          <a:lstStyle>
            <a:lvl1pPr>
              <a:defRPr sz="1100" b="0"/>
            </a:lvl1pPr>
          </a:lstStyle>
          <a:p>
            <a:pPr lvl="0"/>
            <a:r>
              <a:rPr lang="en-GB"/>
              <a:t>Rolle</a:t>
            </a:r>
          </a:p>
        </p:txBody>
      </p:sp>
      <p:sp>
        <p:nvSpPr>
          <p:cNvPr id="21" name="Text Placeholder 8">
            <a:extLst>
              <a:ext uri="{FF2B5EF4-FFF2-40B4-BE49-F238E27FC236}">
                <a16:creationId xmlns:a16="http://schemas.microsoft.com/office/drawing/2014/main" id="{C1B73F15-7E20-0610-F3F2-720969809725}"/>
              </a:ext>
            </a:extLst>
          </p:cNvPr>
          <p:cNvSpPr>
            <a:spLocks noGrp="1"/>
          </p:cNvSpPr>
          <p:nvPr>
            <p:ph type="body" sz="quarter" idx="24" hasCustomPrompt="1"/>
          </p:nvPr>
        </p:nvSpPr>
        <p:spPr>
          <a:xfrm>
            <a:off x="9147506" y="3626169"/>
            <a:ext cx="2376928" cy="97192"/>
          </a:xfrm>
        </p:spPr>
        <p:txBody>
          <a:bodyPr anchor="ctr">
            <a:noAutofit/>
          </a:bodyPr>
          <a:lstStyle>
            <a:lvl1pPr>
              <a:defRPr sz="1000" b="0">
                <a:solidFill>
                  <a:schemeClr val="tx1">
                    <a:lumMod val="50000"/>
                    <a:lumOff val="50000"/>
                  </a:schemeClr>
                </a:solidFill>
              </a:defRPr>
            </a:lvl1pPr>
          </a:lstStyle>
          <a:p>
            <a:pPr lvl="0"/>
            <a:r>
              <a:rPr lang="en-GB" err="1"/>
              <a:t>Firma</a:t>
            </a:r>
            <a:endParaRPr lang="en-GB"/>
          </a:p>
        </p:txBody>
      </p:sp>
      <p:sp>
        <p:nvSpPr>
          <p:cNvPr id="52" name="Picture Placeholder 4">
            <a:extLst>
              <a:ext uri="{FF2B5EF4-FFF2-40B4-BE49-F238E27FC236}">
                <a16:creationId xmlns:a16="http://schemas.microsoft.com/office/drawing/2014/main" id="{231FDC46-7A49-B0F9-EBCF-FE454DA90C9D}"/>
              </a:ext>
            </a:extLst>
          </p:cNvPr>
          <p:cNvSpPr>
            <a:spLocks noGrp="1"/>
          </p:cNvSpPr>
          <p:nvPr>
            <p:ph type="pic" sz="quarter" idx="29"/>
          </p:nvPr>
        </p:nvSpPr>
        <p:spPr>
          <a:xfrm>
            <a:off x="1178410" y="4075340"/>
            <a:ext cx="1371600" cy="1371600"/>
          </a:xfrm>
          <a:prstGeom prst="ellipse">
            <a:avLst/>
          </a:prstGeom>
        </p:spPr>
        <p:txBody>
          <a:bodyPr/>
          <a:lstStyle/>
          <a:p>
            <a:endParaRPr lang="en-GB"/>
          </a:p>
        </p:txBody>
      </p:sp>
      <p:sp>
        <p:nvSpPr>
          <p:cNvPr id="53" name="Text Placeholder 8">
            <a:extLst>
              <a:ext uri="{FF2B5EF4-FFF2-40B4-BE49-F238E27FC236}">
                <a16:creationId xmlns:a16="http://schemas.microsoft.com/office/drawing/2014/main" id="{6741600E-8DFD-A019-5A24-60A3DA5E353A}"/>
              </a:ext>
            </a:extLst>
          </p:cNvPr>
          <p:cNvSpPr>
            <a:spLocks noGrp="1"/>
          </p:cNvSpPr>
          <p:nvPr>
            <p:ph type="body" sz="quarter" idx="30" hasCustomPrompt="1"/>
          </p:nvPr>
        </p:nvSpPr>
        <p:spPr>
          <a:xfrm>
            <a:off x="667566" y="5655876"/>
            <a:ext cx="2376928" cy="271989"/>
          </a:xfrm>
        </p:spPr>
        <p:txBody>
          <a:bodyPr>
            <a:normAutofit/>
          </a:bodyPr>
          <a:lstStyle>
            <a:lvl1pPr>
              <a:defRPr sz="1100" b="1"/>
            </a:lvl1pPr>
          </a:lstStyle>
          <a:p>
            <a:pPr lvl="0"/>
            <a:r>
              <a:rPr lang="en-GB" err="1"/>
              <a:t>Vorname</a:t>
            </a:r>
            <a:r>
              <a:rPr lang="en-GB"/>
              <a:t> </a:t>
            </a:r>
            <a:r>
              <a:rPr lang="en-GB" err="1"/>
              <a:t>Nachname</a:t>
            </a:r>
            <a:endParaRPr lang="en-GB"/>
          </a:p>
        </p:txBody>
      </p:sp>
      <p:sp>
        <p:nvSpPr>
          <p:cNvPr id="54" name="Text Placeholder 8">
            <a:extLst>
              <a:ext uri="{FF2B5EF4-FFF2-40B4-BE49-F238E27FC236}">
                <a16:creationId xmlns:a16="http://schemas.microsoft.com/office/drawing/2014/main" id="{9EA53CCF-B74A-C7BE-F598-A5C05462B6FB}"/>
              </a:ext>
            </a:extLst>
          </p:cNvPr>
          <p:cNvSpPr>
            <a:spLocks noGrp="1"/>
          </p:cNvSpPr>
          <p:nvPr>
            <p:ph type="body" sz="quarter" idx="31" hasCustomPrompt="1"/>
          </p:nvPr>
        </p:nvSpPr>
        <p:spPr>
          <a:xfrm>
            <a:off x="667566" y="5950726"/>
            <a:ext cx="2376928" cy="130104"/>
          </a:xfrm>
        </p:spPr>
        <p:txBody>
          <a:bodyPr anchor="ctr">
            <a:noAutofit/>
          </a:bodyPr>
          <a:lstStyle>
            <a:lvl1pPr>
              <a:defRPr sz="1100" b="0"/>
            </a:lvl1pPr>
          </a:lstStyle>
          <a:p>
            <a:pPr lvl="0"/>
            <a:r>
              <a:rPr lang="en-GB"/>
              <a:t>Rolle</a:t>
            </a:r>
          </a:p>
        </p:txBody>
      </p:sp>
      <p:sp>
        <p:nvSpPr>
          <p:cNvPr id="55" name="Text Placeholder 8">
            <a:extLst>
              <a:ext uri="{FF2B5EF4-FFF2-40B4-BE49-F238E27FC236}">
                <a16:creationId xmlns:a16="http://schemas.microsoft.com/office/drawing/2014/main" id="{97571A12-FFC2-C1E7-9107-78AA25501D57}"/>
              </a:ext>
            </a:extLst>
          </p:cNvPr>
          <p:cNvSpPr>
            <a:spLocks noGrp="1"/>
          </p:cNvSpPr>
          <p:nvPr>
            <p:ph type="body" sz="quarter" idx="32" hasCustomPrompt="1"/>
          </p:nvPr>
        </p:nvSpPr>
        <p:spPr>
          <a:xfrm>
            <a:off x="667566" y="6103689"/>
            <a:ext cx="2376928" cy="97192"/>
          </a:xfrm>
        </p:spPr>
        <p:txBody>
          <a:bodyPr anchor="ctr">
            <a:noAutofit/>
          </a:bodyPr>
          <a:lstStyle>
            <a:lvl1pPr>
              <a:defRPr sz="1000" b="0">
                <a:solidFill>
                  <a:schemeClr val="tx1">
                    <a:lumMod val="50000"/>
                    <a:lumOff val="50000"/>
                  </a:schemeClr>
                </a:solidFill>
              </a:defRPr>
            </a:lvl1pPr>
          </a:lstStyle>
          <a:p>
            <a:pPr lvl="0"/>
            <a:r>
              <a:rPr lang="en-GB" err="1"/>
              <a:t>Firma</a:t>
            </a:r>
            <a:endParaRPr lang="en-GB"/>
          </a:p>
        </p:txBody>
      </p:sp>
      <p:sp>
        <p:nvSpPr>
          <p:cNvPr id="56" name="Picture Placeholder 4">
            <a:extLst>
              <a:ext uri="{FF2B5EF4-FFF2-40B4-BE49-F238E27FC236}">
                <a16:creationId xmlns:a16="http://schemas.microsoft.com/office/drawing/2014/main" id="{8FD83561-1DC4-6D57-E759-3C9AEB5F1B36}"/>
              </a:ext>
            </a:extLst>
          </p:cNvPr>
          <p:cNvSpPr>
            <a:spLocks noGrp="1"/>
          </p:cNvSpPr>
          <p:nvPr>
            <p:ph type="pic" sz="quarter" idx="33"/>
          </p:nvPr>
        </p:nvSpPr>
        <p:spPr>
          <a:xfrm>
            <a:off x="5418381" y="4075340"/>
            <a:ext cx="1371600" cy="1371600"/>
          </a:xfrm>
          <a:prstGeom prst="ellipse">
            <a:avLst/>
          </a:prstGeom>
        </p:spPr>
        <p:txBody>
          <a:bodyPr/>
          <a:lstStyle/>
          <a:p>
            <a:endParaRPr lang="en-GB"/>
          </a:p>
        </p:txBody>
      </p:sp>
      <p:sp>
        <p:nvSpPr>
          <p:cNvPr id="57" name="Text Placeholder 8">
            <a:extLst>
              <a:ext uri="{FF2B5EF4-FFF2-40B4-BE49-F238E27FC236}">
                <a16:creationId xmlns:a16="http://schemas.microsoft.com/office/drawing/2014/main" id="{0F80DD71-AB7F-C331-8483-0FE2260EA820}"/>
              </a:ext>
            </a:extLst>
          </p:cNvPr>
          <p:cNvSpPr>
            <a:spLocks noGrp="1"/>
          </p:cNvSpPr>
          <p:nvPr>
            <p:ph type="body" sz="quarter" idx="34" hasCustomPrompt="1"/>
          </p:nvPr>
        </p:nvSpPr>
        <p:spPr>
          <a:xfrm>
            <a:off x="4907536" y="5655876"/>
            <a:ext cx="2376928" cy="271989"/>
          </a:xfrm>
        </p:spPr>
        <p:txBody>
          <a:bodyPr>
            <a:normAutofit/>
          </a:bodyPr>
          <a:lstStyle>
            <a:lvl1pPr>
              <a:defRPr sz="1100" b="1"/>
            </a:lvl1pPr>
          </a:lstStyle>
          <a:p>
            <a:pPr lvl="0"/>
            <a:r>
              <a:rPr lang="en-GB" err="1"/>
              <a:t>Vorname</a:t>
            </a:r>
            <a:r>
              <a:rPr lang="en-GB"/>
              <a:t> </a:t>
            </a:r>
            <a:r>
              <a:rPr lang="en-GB" err="1"/>
              <a:t>Nachname</a:t>
            </a:r>
            <a:endParaRPr lang="en-GB"/>
          </a:p>
        </p:txBody>
      </p:sp>
      <p:sp>
        <p:nvSpPr>
          <p:cNvPr id="58" name="Text Placeholder 8">
            <a:extLst>
              <a:ext uri="{FF2B5EF4-FFF2-40B4-BE49-F238E27FC236}">
                <a16:creationId xmlns:a16="http://schemas.microsoft.com/office/drawing/2014/main" id="{D3E46FE0-0141-40A7-0859-AA1AB821CAAD}"/>
              </a:ext>
            </a:extLst>
          </p:cNvPr>
          <p:cNvSpPr>
            <a:spLocks noGrp="1"/>
          </p:cNvSpPr>
          <p:nvPr>
            <p:ph type="body" sz="quarter" idx="35" hasCustomPrompt="1"/>
          </p:nvPr>
        </p:nvSpPr>
        <p:spPr>
          <a:xfrm>
            <a:off x="4907536" y="5950726"/>
            <a:ext cx="2376928" cy="130104"/>
          </a:xfrm>
        </p:spPr>
        <p:txBody>
          <a:bodyPr anchor="ctr">
            <a:noAutofit/>
          </a:bodyPr>
          <a:lstStyle>
            <a:lvl1pPr>
              <a:defRPr sz="1100" b="0"/>
            </a:lvl1pPr>
          </a:lstStyle>
          <a:p>
            <a:pPr lvl="0"/>
            <a:r>
              <a:rPr lang="en-GB"/>
              <a:t>Rolle</a:t>
            </a:r>
          </a:p>
        </p:txBody>
      </p:sp>
      <p:sp>
        <p:nvSpPr>
          <p:cNvPr id="59" name="Text Placeholder 8">
            <a:extLst>
              <a:ext uri="{FF2B5EF4-FFF2-40B4-BE49-F238E27FC236}">
                <a16:creationId xmlns:a16="http://schemas.microsoft.com/office/drawing/2014/main" id="{A41F2AF1-5375-33A4-08A4-24EB93722737}"/>
              </a:ext>
            </a:extLst>
          </p:cNvPr>
          <p:cNvSpPr>
            <a:spLocks noGrp="1"/>
          </p:cNvSpPr>
          <p:nvPr>
            <p:ph type="body" sz="quarter" idx="36" hasCustomPrompt="1"/>
          </p:nvPr>
        </p:nvSpPr>
        <p:spPr>
          <a:xfrm>
            <a:off x="4907536" y="6103689"/>
            <a:ext cx="2376928" cy="97192"/>
          </a:xfrm>
        </p:spPr>
        <p:txBody>
          <a:bodyPr anchor="ctr">
            <a:noAutofit/>
          </a:bodyPr>
          <a:lstStyle>
            <a:lvl1pPr>
              <a:defRPr sz="1000" b="0">
                <a:solidFill>
                  <a:schemeClr val="tx1">
                    <a:lumMod val="50000"/>
                    <a:lumOff val="50000"/>
                  </a:schemeClr>
                </a:solidFill>
              </a:defRPr>
            </a:lvl1pPr>
          </a:lstStyle>
          <a:p>
            <a:pPr lvl="0"/>
            <a:r>
              <a:rPr lang="en-GB" err="1"/>
              <a:t>Firma</a:t>
            </a:r>
            <a:endParaRPr lang="en-GB"/>
          </a:p>
        </p:txBody>
      </p:sp>
      <p:sp>
        <p:nvSpPr>
          <p:cNvPr id="60" name="Picture Placeholder 4">
            <a:extLst>
              <a:ext uri="{FF2B5EF4-FFF2-40B4-BE49-F238E27FC236}">
                <a16:creationId xmlns:a16="http://schemas.microsoft.com/office/drawing/2014/main" id="{F959FD30-321B-7A96-C699-A87FA9A4287E}"/>
              </a:ext>
            </a:extLst>
          </p:cNvPr>
          <p:cNvSpPr>
            <a:spLocks noGrp="1"/>
          </p:cNvSpPr>
          <p:nvPr>
            <p:ph type="pic" sz="quarter" idx="37"/>
          </p:nvPr>
        </p:nvSpPr>
        <p:spPr>
          <a:xfrm>
            <a:off x="9658351" y="4075340"/>
            <a:ext cx="1371600" cy="1371600"/>
          </a:xfrm>
          <a:prstGeom prst="ellipse">
            <a:avLst/>
          </a:prstGeom>
        </p:spPr>
        <p:txBody>
          <a:bodyPr/>
          <a:lstStyle/>
          <a:p>
            <a:endParaRPr lang="en-GB"/>
          </a:p>
        </p:txBody>
      </p:sp>
      <p:sp>
        <p:nvSpPr>
          <p:cNvPr id="61" name="Text Placeholder 8">
            <a:extLst>
              <a:ext uri="{FF2B5EF4-FFF2-40B4-BE49-F238E27FC236}">
                <a16:creationId xmlns:a16="http://schemas.microsoft.com/office/drawing/2014/main" id="{D74C6DCF-5051-EFF2-F8FD-B51EDFD154BE}"/>
              </a:ext>
            </a:extLst>
          </p:cNvPr>
          <p:cNvSpPr>
            <a:spLocks noGrp="1"/>
          </p:cNvSpPr>
          <p:nvPr>
            <p:ph type="body" sz="quarter" idx="38" hasCustomPrompt="1"/>
          </p:nvPr>
        </p:nvSpPr>
        <p:spPr>
          <a:xfrm>
            <a:off x="9147506" y="5655876"/>
            <a:ext cx="2376928" cy="271989"/>
          </a:xfrm>
        </p:spPr>
        <p:txBody>
          <a:bodyPr>
            <a:normAutofit/>
          </a:bodyPr>
          <a:lstStyle>
            <a:lvl1pPr>
              <a:defRPr sz="1100" b="1"/>
            </a:lvl1pPr>
          </a:lstStyle>
          <a:p>
            <a:pPr lvl="0"/>
            <a:r>
              <a:rPr lang="en-GB" err="1"/>
              <a:t>Vorname</a:t>
            </a:r>
            <a:r>
              <a:rPr lang="en-GB"/>
              <a:t> </a:t>
            </a:r>
            <a:r>
              <a:rPr lang="en-GB" err="1"/>
              <a:t>Nachname</a:t>
            </a:r>
            <a:endParaRPr lang="en-GB"/>
          </a:p>
        </p:txBody>
      </p:sp>
      <p:sp>
        <p:nvSpPr>
          <p:cNvPr id="62" name="Text Placeholder 8">
            <a:extLst>
              <a:ext uri="{FF2B5EF4-FFF2-40B4-BE49-F238E27FC236}">
                <a16:creationId xmlns:a16="http://schemas.microsoft.com/office/drawing/2014/main" id="{81CA7C93-2D2E-7CB0-A07F-91DA91B74F1E}"/>
              </a:ext>
            </a:extLst>
          </p:cNvPr>
          <p:cNvSpPr>
            <a:spLocks noGrp="1"/>
          </p:cNvSpPr>
          <p:nvPr>
            <p:ph type="body" sz="quarter" idx="39" hasCustomPrompt="1"/>
          </p:nvPr>
        </p:nvSpPr>
        <p:spPr>
          <a:xfrm>
            <a:off x="9147506" y="5950726"/>
            <a:ext cx="2376928" cy="130104"/>
          </a:xfrm>
        </p:spPr>
        <p:txBody>
          <a:bodyPr anchor="ctr">
            <a:noAutofit/>
          </a:bodyPr>
          <a:lstStyle>
            <a:lvl1pPr>
              <a:defRPr sz="1100" b="0"/>
            </a:lvl1pPr>
          </a:lstStyle>
          <a:p>
            <a:pPr lvl="0"/>
            <a:r>
              <a:rPr lang="en-GB"/>
              <a:t>Rolle</a:t>
            </a:r>
          </a:p>
        </p:txBody>
      </p:sp>
      <p:sp>
        <p:nvSpPr>
          <p:cNvPr id="63" name="Text Placeholder 8">
            <a:extLst>
              <a:ext uri="{FF2B5EF4-FFF2-40B4-BE49-F238E27FC236}">
                <a16:creationId xmlns:a16="http://schemas.microsoft.com/office/drawing/2014/main" id="{911D52EF-D730-AF89-D938-8798197C335F}"/>
              </a:ext>
            </a:extLst>
          </p:cNvPr>
          <p:cNvSpPr>
            <a:spLocks noGrp="1"/>
          </p:cNvSpPr>
          <p:nvPr>
            <p:ph type="body" sz="quarter" idx="40" hasCustomPrompt="1"/>
          </p:nvPr>
        </p:nvSpPr>
        <p:spPr>
          <a:xfrm>
            <a:off x="9147506" y="6103689"/>
            <a:ext cx="2376928" cy="97192"/>
          </a:xfrm>
        </p:spPr>
        <p:txBody>
          <a:bodyPr anchor="ctr">
            <a:noAutofit/>
          </a:bodyPr>
          <a:lstStyle>
            <a:lvl1pPr>
              <a:defRPr sz="1000" b="0">
                <a:solidFill>
                  <a:schemeClr val="tx1">
                    <a:lumMod val="50000"/>
                    <a:lumOff val="50000"/>
                  </a:schemeClr>
                </a:solidFill>
              </a:defRPr>
            </a:lvl1pPr>
          </a:lstStyle>
          <a:p>
            <a:pPr lvl="0"/>
            <a:r>
              <a:rPr lang="en-GB" err="1"/>
              <a:t>Firma</a:t>
            </a:r>
            <a:endParaRPr lang="en-GB"/>
          </a:p>
        </p:txBody>
      </p:sp>
      <p:sp>
        <p:nvSpPr>
          <p:cNvPr id="12" name="Footer Placeholder 11">
            <a:extLst>
              <a:ext uri="{FF2B5EF4-FFF2-40B4-BE49-F238E27FC236}">
                <a16:creationId xmlns:a16="http://schemas.microsoft.com/office/drawing/2014/main" id="{22B268A9-3390-4413-1553-2CAFF21C6191}"/>
              </a:ext>
            </a:extLst>
          </p:cNvPr>
          <p:cNvSpPr>
            <a:spLocks noGrp="1"/>
          </p:cNvSpPr>
          <p:nvPr>
            <p:ph type="ftr" sz="quarter" idx="41"/>
          </p:nvPr>
        </p:nvSpPr>
        <p:spPr/>
        <p:txBody>
          <a:bodyPr/>
          <a:lstStyle/>
          <a:p>
            <a:r>
              <a:rPr lang="en-GB"/>
              <a:t>byte – Bayerische Agentur für Digitales</a:t>
            </a:r>
          </a:p>
        </p:txBody>
      </p:sp>
      <p:sp>
        <p:nvSpPr>
          <p:cNvPr id="22" name="Slide Number Placeholder 21">
            <a:extLst>
              <a:ext uri="{FF2B5EF4-FFF2-40B4-BE49-F238E27FC236}">
                <a16:creationId xmlns:a16="http://schemas.microsoft.com/office/drawing/2014/main" id="{0B2719EE-F27E-9ABA-A760-0C06AE118A26}"/>
              </a:ext>
            </a:extLst>
          </p:cNvPr>
          <p:cNvSpPr>
            <a:spLocks noGrp="1"/>
          </p:cNvSpPr>
          <p:nvPr>
            <p:ph type="sldNum" sz="quarter" idx="42"/>
          </p:nvPr>
        </p:nvSpPr>
        <p:spPr/>
        <p:txBody>
          <a:bodyPr/>
          <a:lstStyle/>
          <a:p>
            <a:fld id="{0016BBAD-09BD-6243-A9CA-D1F4B193196B}" type="slidenum">
              <a:rPr lang="en-GB" smtClean="0"/>
              <a:pPr/>
              <a:t>‹Nr.›</a:t>
            </a:fld>
            <a:endParaRPr lang="en-GB"/>
          </a:p>
        </p:txBody>
      </p:sp>
      <p:sp>
        <p:nvSpPr>
          <p:cNvPr id="8" name="Text Placeholder 7">
            <a:extLst>
              <a:ext uri="{FF2B5EF4-FFF2-40B4-BE49-F238E27FC236}">
                <a16:creationId xmlns:a16="http://schemas.microsoft.com/office/drawing/2014/main" id="{68EE2CF0-BF46-4880-D82E-419F572F3834}"/>
              </a:ext>
            </a:extLst>
          </p:cNvPr>
          <p:cNvSpPr>
            <a:spLocks noGrp="1"/>
          </p:cNvSpPr>
          <p:nvPr>
            <p:ph type="body" sz="quarter" idx="43"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en-GB" err="1"/>
              <a:t>Kapitel</a:t>
            </a:r>
            <a:r>
              <a:rPr lang="en-GB"/>
              <a:t> ➝ Thema</a:t>
            </a:r>
          </a:p>
        </p:txBody>
      </p:sp>
      <p:cxnSp>
        <p:nvCxnSpPr>
          <p:cNvPr id="23" name="Gerader Verbinder 15">
            <a:extLst>
              <a:ext uri="{FF2B5EF4-FFF2-40B4-BE49-F238E27FC236}">
                <a16:creationId xmlns:a16="http://schemas.microsoft.com/office/drawing/2014/main" id="{28ACCA7E-04B4-A1F6-DBEF-2D80DCA48D7C}"/>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646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1/2_dunkel-Bi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5042656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0" y="0"/>
            <a:ext cx="690245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4" y="1844675"/>
            <a:ext cx="5270501" cy="3168650"/>
          </a:xfrm>
        </p:spPr>
        <p:txBody>
          <a:bodyPr vert="horz" anchor="ctr"/>
          <a:lstStyle>
            <a:lvl1pPr>
              <a:defRPr sz="3600">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28" name="Picture Placeholder 27">
            <a:extLst>
              <a:ext uri="{FF2B5EF4-FFF2-40B4-BE49-F238E27FC236}">
                <a16:creationId xmlns:a16="http://schemas.microsoft.com/office/drawing/2014/main" id="{E165A297-D755-CEA6-9086-E58E52FA5B75}"/>
              </a:ext>
            </a:extLst>
          </p:cNvPr>
          <p:cNvSpPr>
            <a:spLocks noGrp="1"/>
          </p:cNvSpPr>
          <p:nvPr>
            <p:ph type="pic" sz="quarter" idx="12" hasCustomPrompt="1"/>
          </p:nvPr>
        </p:nvSpPr>
        <p:spPr>
          <a:xfrm>
            <a:off x="6096000" y="441326"/>
            <a:ext cx="6096000" cy="5946223"/>
          </a:xfrm>
        </p:spPr>
        <p:txBody>
          <a:bodyPr/>
          <a:lstStyle>
            <a:lvl1pPr algn="ctr">
              <a:defRPr/>
            </a:lvl1pPr>
          </a:lstStyle>
          <a:p>
            <a:r>
              <a:rPr lang="en-GB" err="1"/>
              <a:t>Klicke</a:t>
            </a:r>
            <a:r>
              <a:rPr lang="en-GB"/>
              <a:t> </a:t>
            </a:r>
            <a:r>
              <a:rPr lang="en-GB" err="1"/>
              <a:t>hier</a:t>
            </a:r>
            <a:r>
              <a:rPr lang="en-GB"/>
              <a:t> um </a:t>
            </a:r>
            <a:r>
              <a:rPr lang="en-GB" err="1"/>
              <a:t>ein</a:t>
            </a:r>
            <a:r>
              <a:rPr lang="en-GB"/>
              <a:t> Bild </a:t>
            </a:r>
            <a:r>
              <a:rPr lang="en-GB" err="1"/>
              <a:t>einzufügen</a:t>
            </a:r>
            <a:endParaRPr lang="en-GB"/>
          </a:p>
        </p:txBody>
      </p:sp>
      <p:sp>
        <p:nvSpPr>
          <p:cNvPr id="5" name="Text Placeholder 7">
            <a:extLst>
              <a:ext uri="{FF2B5EF4-FFF2-40B4-BE49-F238E27FC236}">
                <a16:creationId xmlns:a16="http://schemas.microsoft.com/office/drawing/2014/main" id="{8EE4B5CD-D15D-F4F3-F14D-E6BAB1C820DD}"/>
              </a:ext>
            </a:extLst>
          </p:cNvPr>
          <p:cNvSpPr>
            <a:spLocks noGrp="1"/>
          </p:cNvSpPr>
          <p:nvPr>
            <p:ph type="body" sz="quarter" idx="13"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7" name="Footer Placeholder 6">
            <a:extLst>
              <a:ext uri="{FF2B5EF4-FFF2-40B4-BE49-F238E27FC236}">
                <a16:creationId xmlns:a16="http://schemas.microsoft.com/office/drawing/2014/main" id="{8AD390D0-3D59-BB23-1F5B-E225C0011D48}"/>
              </a:ext>
            </a:extLst>
          </p:cNvPr>
          <p:cNvSpPr>
            <a:spLocks noGrp="1"/>
          </p:cNvSpPr>
          <p:nvPr>
            <p:ph type="ftr" sz="quarter" idx="14"/>
          </p:nvPr>
        </p:nvSpPr>
        <p:spPr/>
        <p:txBody>
          <a:bodyPr/>
          <a:lstStyle/>
          <a:p>
            <a:r>
              <a:rPr lang="en-GB"/>
              <a:t>byte – Bayerische Agentur für Digitales</a:t>
            </a:r>
          </a:p>
        </p:txBody>
      </p:sp>
      <p:sp>
        <p:nvSpPr>
          <p:cNvPr id="8" name="Slide Number Placeholder 7">
            <a:extLst>
              <a:ext uri="{FF2B5EF4-FFF2-40B4-BE49-F238E27FC236}">
                <a16:creationId xmlns:a16="http://schemas.microsoft.com/office/drawing/2014/main" id="{F4284010-3E69-1A55-DE05-1868EC4D5A80}"/>
              </a:ext>
            </a:extLst>
          </p:cNvPr>
          <p:cNvSpPr>
            <a:spLocks noGrp="1"/>
          </p:cNvSpPr>
          <p:nvPr>
            <p:ph type="sldNum" sz="quarter" idx="15"/>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1305879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3-1/3_dunkel-Bi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647759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0" y="0"/>
            <a:ext cx="7992777"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4" y="1844675"/>
            <a:ext cx="6365876" cy="3168650"/>
          </a:xfrm>
        </p:spPr>
        <p:txBody>
          <a:bodyPr vert="horz" anchor="ctr"/>
          <a:lstStyle>
            <a:lvl1pPr>
              <a:defRPr sz="3600">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28" name="Picture Placeholder 27">
            <a:extLst>
              <a:ext uri="{FF2B5EF4-FFF2-40B4-BE49-F238E27FC236}">
                <a16:creationId xmlns:a16="http://schemas.microsoft.com/office/drawing/2014/main" id="{E165A297-D755-CEA6-9086-E58E52FA5B75}"/>
              </a:ext>
            </a:extLst>
          </p:cNvPr>
          <p:cNvSpPr>
            <a:spLocks noGrp="1"/>
          </p:cNvSpPr>
          <p:nvPr>
            <p:ph type="pic" sz="quarter" idx="12" hasCustomPrompt="1"/>
          </p:nvPr>
        </p:nvSpPr>
        <p:spPr>
          <a:xfrm>
            <a:off x="7191375" y="441326"/>
            <a:ext cx="5000625" cy="5945827"/>
          </a:xfrm>
        </p:spPr>
        <p:txBody>
          <a:bodyPr/>
          <a:lstStyle>
            <a:lvl1pPr algn="ctr">
              <a:defRPr/>
            </a:lvl1pPr>
          </a:lstStyle>
          <a:p>
            <a:r>
              <a:rPr lang="en-GB" err="1"/>
              <a:t>Klicke</a:t>
            </a:r>
            <a:r>
              <a:rPr lang="en-GB"/>
              <a:t> </a:t>
            </a:r>
            <a:r>
              <a:rPr lang="en-GB" err="1"/>
              <a:t>hier</a:t>
            </a:r>
            <a:r>
              <a:rPr lang="en-GB"/>
              <a:t> um </a:t>
            </a:r>
            <a:r>
              <a:rPr lang="en-GB" err="1"/>
              <a:t>ein</a:t>
            </a:r>
            <a:r>
              <a:rPr lang="en-GB"/>
              <a:t> Bild </a:t>
            </a:r>
            <a:r>
              <a:rPr lang="en-GB" err="1"/>
              <a:t>einzufügen</a:t>
            </a:r>
            <a:endParaRPr lang="en-GB"/>
          </a:p>
        </p:txBody>
      </p:sp>
      <p:sp>
        <p:nvSpPr>
          <p:cNvPr id="5" name="Text Placeholder 7">
            <a:extLst>
              <a:ext uri="{FF2B5EF4-FFF2-40B4-BE49-F238E27FC236}">
                <a16:creationId xmlns:a16="http://schemas.microsoft.com/office/drawing/2014/main" id="{065BED39-F449-FB85-48CB-B7A691B99FFA}"/>
              </a:ext>
            </a:extLst>
          </p:cNvPr>
          <p:cNvSpPr>
            <a:spLocks noGrp="1"/>
          </p:cNvSpPr>
          <p:nvPr>
            <p:ph type="body" sz="quarter" idx="13" hasCustomPrompt="1"/>
          </p:nvPr>
        </p:nvSpPr>
        <p:spPr>
          <a:xfrm>
            <a:off x="8394606" y="159390"/>
            <a:ext cx="3260820" cy="17398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9" name="Footer Placeholder 8">
            <a:extLst>
              <a:ext uri="{FF2B5EF4-FFF2-40B4-BE49-F238E27FC236}">
                <a16:creationId xmlns:a16="http://schemas.microsoft.com/office/drawing/2014/main" id="{AB222AF9-70DE-EA80-6B07-DCF34A0A3C6D}"/>
              </a:ext>
            </a:extLst>
          </p:cNvPr>
          <p:cNvSpPr>
            <a:spLocks noGrp="1"/>
          </p:cNvSpPr>
          <p:nvPr>
            <p:ph type="ftr" sz="quarter" idx="14"/>
          </p:nvPr>
        </p:nvSpPr>
        <p:spPr/>
        <p:txBody>
          <a:bodyPr/>
          <a:lstStyle/>
          <a:p>
            <a:r>
              <a:rPr lang="en-GB"/>
              <a:t>byte – Bayerische Agentur für Digitales</a:t>
            </a:r>
          </a:p>
        </p:txBody>
      </p:sp>
      <p:sp>
        <p:nvSpPr>
          <p:cNvPr id="10" name="Slide Number Placeholder 9">
            <a:extLst>
              <a:ext uri="{FF2B5EF4-FFF2-40B4-BE49-F238E27FC236}">
                <a16:creationId xmlns:a16="http://schemas.microsoft.com/office/drawing/2014/main" id="{2966E970-9BB1-450C-66E7-EDE348175A3F}"/>
              </a:ext>
            </a:extLst>
          </p:cNvPr>
          <p:cNvSpPr>
            <a:spLocks noGrp="1"/>
          </p:cNvSpPr>
          <p:nvPr>
            <p:ph type="sldNum" sz="quarter" idx="15"/>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35708877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2/3_hell-dunkel_Pfei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9426316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4116389" y="0"/>
            <a:ext cx="8075611"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8" y="2241551"/>
            <a:ext cx="2851146" cy="2374900"/>
          </a:xfrm>
        </p:spPr>
        <p:txBody>
          <a:bodyPr vert="horz" anchor="ct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8" name="Text Placeholder 7">
            <a:extLst>
              <a:ext uri="{FF2B5EF4-FFF2-40B4-BE49-F238E27FC236}">
                <a16:creationId xmlns:a16="http://schemas.microsoft.com/office/drawing/2014/main" id="{1F9D7D89-2007-BF16-B3DB-B8A3BE0A5A94}"/>
              </a:ext>
            </a:extLst>
          </p:cNvPr>
          <p:cNvSpPr>
            <a:spLocks noGrp="1"/>
          </p:cNvSpPr>
          <p:nvPr>
            <p:ph type="body" sz="quarter" idx="12" hasCustomPrompt="1"/>
          </p:nvPr>
        </p:nvSpPr>
        <p:spPr>
          <a:xfrm>
            <a:off x="6647794" y="152400"/>
            <a:ext cx="5007627" cy="180975"/>
          </a:xfrm>
        </p:spPr>
        <p:txBody>
          <a:bodyPr anchor="ctr">
            <a:noAutofit/>
          </a:bodyPr>
          <a:lstStyle>
            <a:lvl1pPr algn="r">
              <a:defRPr sz="900">
                <a:solidFill>
                  <a:schemeClr val="accent2"/>
                </a:solidFill>
              </a:defRPr>
            </a:lvl1pPr>
          </a:lstStyle>
          <a:p>
            <a:pPr lvl="0"/>
            <a:r>
              <a:rPr lang="en-GB" err="1"/>
              <a:t>Kapitel</a:t>
            </a:r>
            <a:r>
              <a:rPr lang="en-GB"/>
              <a:t> ➝ Thema</a:t>
            </a:r>
          </a:p>
        </p:txBody>
      </p:sp>
      <p:cxnSp>
        <p:nvCxnSpPr>
          <p:cNvPr id="21" name="Straight Connector 20">
            <a:extLst>
              <a:ext uri="{FF2B5EF4-FFF2-40B4-BE49-F238E27FC236}">
                <a16:creationId xmlns:a16="http://schemas.microsoft.com/office/drawing/2014/main" id="{10FB6714-F007-8489-0F1F-27E6A6390949}"/>
              </a:ext>
            </a:extLst>
          </p:cNvPr>
          <p:cNvCxnSpPr/>
          <p:nvPr userDrawn="1"/>
        </p:nvCxnSpPr>
        <p:spPr>
          <a:xfrm>
            <a:off x="4116388" y="0"/>
            <a:ext cx="0" cy="6858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16F6FB88-AD3A-8F1F-3AA0-37DB849F11C7}"/>
              </a:ext>
            </a:extLst>
          </p:cNvPr>
          <p:cNvGrpSpPr/>
          <p:nvPr userDrawn="1"/>
        </p:nvGrpSpPr>
        <p:grpSpPr>
          <a:xfrm>
            <a:off x="3828429" y="3141042"/>
            <a:ext cx="575916" cy="575916"/>
            <a:chOff x="3743483" y="4425494"/>
            <a:chExt cx="666855" cy="666855"/>
          </a:xfrm>
        </p:grpSpPr>
        <p:sp>
          <p:nvSpPr>
            <p:cNvPr id="5" name="Rectangle 4">
              <a:extLst>
                <a:ext uri="{FF2B5EF4-FFF2-40B4-BE49-F238E27FC236}">
                  <a16:creationId xmlns:a16="http://schemas.microsoft.com/office/drawing/2014/main" id="{B81197CD-ABD3-303F-4118-A8206F446AC1}"/>
                </a:ext>
              </a:extLst>
            </p:cNvPr>
            <p:cNvSpPr/>
            <p:nvPr/>
          </p:nvSpPr>
          <p:spPr>
            <a:xfrm>
              <a:off x="3743483" y="4425494"/>
              <a:ext cx="666855" cy="666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9" name="Group 8">
              <a:extLst>
                <a:ext uri="{FF2B5EF4-FFF2-40B4-BE49-F238E27FC236}">
                  <a16:creationId xmlns:a16="http://schemas.microsoft.com/office/drawing/2014/main" id="{76DDDD7F-24FF-C1E4-F2F9-5A26C3B2F53C}"/>
                </a:ext>
              </a:extLst>
            </p:cNvPr>
            <p:cNvGrpSpPr/>
            <p:nvPr/>
          </p:nvGrpSpPr>
          <p:grpSpPr>
            <a:xfrm rot="16200000">
              <a:off x="3868225" y="4696474"/>
              <a:ext cx="417371" cy="124895"/>
              <a:chOff x="3076628" y="4892798"/>
              <a:chExt cx="666855" cy="199551"/>
            </a:xfrm>
          </p:grpSpPr>
          <p:cxnSp>
            <p:nvCxnSpPr>
              <p:cNvPr id="11" name="Straight Connector 10">
                <a:extLst>
                  <a:ext uri="{FF2B5EF4-FFF2-40B4-BE49-F238E27FC236}">
                    <a16:creationId xmlns:a16="http://schemas.microsoft.com/office/drawing/2014/main" id="{9C71DA8C-4F25-B023-7DD8-B4CD5BEDE666}"/>
                  </a:ext>
                </a:extLst>
              </p:cNvPr>
              <p:cNvCxnSpPr>
                <a:cxnSpLocks/>
              </p:cNvCxnSpPr>
              <p:nvPr/>
            </p:nvCxnSpPr>
            <p:spPr>
              <a:xfrm>
                <a:off x="3076628"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B1969E0-5FDD-E138-9096-BDE379D7C735}"/>
                  </a:ext>
                </a:extLst>
              </p:cNvPr>
              <p:cNvCxnSpPr>
                <a:cxnSpLocks/>
              </p:cNvCxnSpPr>
              <p:nvPr/>
            </p:nvCxnSpPr>
            <p:spPr>
              <a:xfrm flipH="1">
                <a:off x="3410056"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7" name="Footer Placeholder 6">
            <a:extLst>
              <a:ext uri="{FF2B5EF4-FFF2-40B4-BE49-F238E27FC236}">
                <a16:creationId xmlns:a16="http://schemas.microsoft.com/office/drawing/2014/main" id="{A65A9567-4CC3-7F15-3F3D-4FF77ED526ED}"/>
              </a:ext>
            </a:extLst>
          </p:cNvPr>
          <p:cNvSpPr>
            <a:spLocks noGrp="1"/>
          </p:cNvSpPr>
          <p:nvPr>
            <p:ph type="ftr" sz="quarter" idx="13"/>
          </p:nvPr>
        </p:nvSpPr>
        <p:spPr/>
        <p:txBody>
          <a:bodyPr/>
          <a:lstStyle>
            <a:lvl1pPr>
              <a:defRPr>
                <a:solidFill>
                  <a:schemeClr val="bg1"/>
                </a:solidFill>
              </a:defRPr>
            </a:lvl1pPr>
          </a:lstStyle>
          <a:p>
            <a:r>
              <a:rPr lang="en-GB"/>
              <a:t>byte – Bayerische Agentur für Digitales</a:t>
            </a:r>
          </a:p>
        </p:txBody>
      </p:sp>
      <p:sp>
        <p:nvSpPr>
          <p:cNvPr id="13" name="Slide Number Placeholder 12">
            <a:extLst>
              <a:ext uri="{FF2B5EF4-FFF2-40B4-BE49-F238E27FC236}">
                <a16:creationId xmlns:a16="http://schemas.microsoft.com/office/drawing/2014/main" id="{92816E75-8BC5-3683-CC3F-BF41191B9412}"/>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spTree>
    <p:extLst>
      <p:ext uri="{BB962C8B-B14F-4D97-AF65-F5344CB8AC3E}">
        <p14:creationId xmlns:p14="http://schemas.microsoft.com/office/powerpoint/2010/main" val="4102926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2/3_hell_dunk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3815855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3909391" y="0"/>
            <a:ext cx="8282608"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5" y="2241551"/>
            <a:ext cx="3195167" cy="2374900"/>
          </a:xfrm>
        </p:spPr>
        <p:txBody>
          <a:bodyPr vert="horz" anchor="ct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8" name="Text Placeholder 7">
            <a:extLst>
              <a:ext uri="{FF2B5EF4-FFF2-40B4-BE49-F238E27FC236}">
                <a16:creationId xmlns:a16="http://schemas.microsoft.com/office/drawing/2014/main" id="{1F9D7D89-2007-BF16-B3DB-B8A3BE0A5A94}"/>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12" name="Footer Placeholder 11">
            <a:extLst>
              <a:ext uri="{FF2B5EF4-FFF2-40B4-BE49-F238E27FC236}">
                <a16:creationId xmlns:a16="http://schemas.microsoft.com/office/drawing/2014/main" id="{9B6D5D1C-53C0-C414-D50A-C355A5FF505D}"/>
              </a:ext>
            </a:extLst>
          </p:cNvPr>
          <p:cNvSpPr>
            <a:spLocks noGrp="1"/>
          </p:cNvSpPr>
          <p:nvPr>
            <p:ph type="ftr" sz="quarter" idx="13"/>
          </p:nvPr>
        </p:nvSpPr>
        <p:spPr/>
        <p:txBody>
          <a:bodyPr/>
          <a:lstStyle>
            <a:lvl1pPr>
              <a:defRPr>
                <a:solidFill>
                  <a:schemeClr val="bg1"/>
                </a:solidFill>
              </a:defRPr>
            </a:lvl1pPr>
          </a:lstStyle>
          <a:p>
            <a:r>
              <a:rPr lang="en-GB"/>
              <a:t>byte – Bayerische Agentur für Digitales</a:t>
            </a:r>
          </a:p>
        </p:txBody>
      </p:sp>
      <p:sp>
        <p:nvSpPr>
          <p:cNvPr id="13" name="Slide Number Placeholder 12">
            <a:extLst>
              <a:ext uri="{FF2B5EF4-FFF2-40B4-BE49-F238E27FC236}">
                <a16:creationId xmlns:a16="http://schemas.microsoft.com/office/drawing/2014/main" id="{E78DBEF9-EED2-D484-68B0-FBDCA9241DB8}"/>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spTree>
    <p:extLst>
      <p:ext uri="{BB962C8B-B14F-4D97-AF65-F5344CB8AC3E}">
        <p14:creationId xmlns:p14="http://schemas.microsoft.com/office/powerpoint/2010/main" val="28604008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1/2_hell-dunk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864368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6096001" y="0"/>
            <a:ext cx="6095999"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4" y="441325"/>
            <a:ext cx="5416551" cy="755650"/>
          </a:xfrm>
        </p:spPr>
        <p:txBody>
          <a:bodyPr vert="horz"/>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14" name="Text Placeholder 7">
            <a:extLst>
              <a:ext uri="{FF2B5EF4-FFF2-40B4-BE49-F238E27FC236}">
                <a16:creationId xmlns:a16="http://schemas.microsoft.com/office/drawing/2014/main" id="{EB2387A1-093C-9596-BEF5-C81F21A221A8}"/>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8" name="Footer Placeholder 7">
            <a:extLst>
              <a:ext uri="{FF2B5EF4-FFF2-40B4-BE49-F238E27FC236}">
                <a16:creationId xmlns:a16="http://schemas.microsoft.com/office/drawing/2014/main" id="{4D386329-18C9-E7C9-2CFF-56E7656FF1A3}"/>
              </a:ext>
            </a:extLst>
          </p:cNvPr>
          <p:cNvSpPr>
            <a:spLocks noGrp="1"/>
          </p:cNvSpPr>
          <p:nvPr>
            <p:ph type="ftr" sz="quarter" idx="13"/>
          </p:nvPr>
        </p:nvSpPr>
        <p:spPr/>
        <p:txBody>
          <a:bodyPr/>
          <a:lstStyle>
            <a:lvl1pPr>
              <a:defRPr>
                <a:solidFill>
                  <a:schemeClr val="bg1"/>
                </a:solidFill>
              </a:defRPr>
            </a:lvl1pPr>
          </a:lstStyle>
          <a:p>
            <a:r>
              <a:rPr lang="en-GB"/>
              <a:t>byte – Bayerische Agentur für Digitales</a:t>
            </a:r>
          </a:p>
        </p:txBody>
      </p:sp>
      <p:sp>
        <p:nvSpPr>
          <p:cNvPr id="9" name="Slide Number Placeholder 8">
            <a:extLst>
              <a:ext uri="{FF2B5EF4-FFF2-40B4-BE49-F238E27FC236}">
                <a16:creationId xmlns:a16="http://schemas.microsoft.com/office/drawing/2014/main" id="{A5245013-936D-C8A5-ACE7-CC804F170A9D}"/>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cxnSp>
        <p:nvCxnSpPr>
          <p:cNvPr id="5" name="Gerader Verbinder 15">
            <a:extLst>
              <a:ext uri="{FF2B5EF4-FFF2-40B4-BE49-F238E27FC236}">
                <a16:creationId xmlns:a16="http://schemas.microsoft.com/office/drawing/2014/main" id="{F20FA506-C505-DCED-3498-F7A6361053DB}"/>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96273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dunkel">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5A9A7BD-3783-7000-3F5D-E4C1457B99B0}"/>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graphicFrame>
        <p:nvGraphicFramePr>
          <p:cNvPr id="16" name="Object 15" hidden="1">
            <a:extLst>
              <a:ext uri="{FF2B5EF4-FFF2-40B4-BE49-F238E27FC236}">
                <a16:creationId xmlns:a16="http://schemas.microsoft.com/office/drawing/2014/main" id="{E7C1F37D-53E1-FECE-AF3E-DDD8675CC25E}"/>
              </a:ext>
            </a:extLst>
          </p:cNvPr>
          <p:cNvGraphicFramePr>
            <a:graphicFrameLocks noChangeAspect="1"/>
          </p:cNvGraphicFramePr>
          <p:nvPr userDrawn="1">
            <p:custDataLst>
              <p:tags r:id="rId1"/>
            </p:custDataLst>
            <p:extLst>
              <p:ext uri="{D42A27DB-BD31-4B8C-83A1-F6EECF244321}">
                <p14:modId xmlns:p14="http://schemas.microsoft.com/office/powerpoint/2010/main" val="2513346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Object 15" hidden="1">
                        <a:extLst>
                          <a:ext uri="{FF2B5EF4-FFF2-40B4-BE49-F238E27FC236}">
                            <a16:creationId xmlns:a16="http://schemas.microsoft.com/office/drawing/2014/main" id="{E7C1F37D-53E1-FECE-AF3E-DDD8675CC25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Unterüberschrift">
            <a:extLst>
              <a:ext uri="{FF2B5EF4-FFF2-40B4-BE49-F238E27FC236}">
                <a16:creationId xmlns:a16="http://schemas.microsoft.com/office/drawing/2014/main" id="{3A149770-B70E-9FEA-6657-938E2B131F5A}"/>
              </a:ext>
            </a:extLst>
          </p:cNvPr>
          <p:cNvSpPr>
            <a:spLocks noGrp="1"/>
          </p:cNvSpPr>
          <p:nvPr>
            <p:ph type="body" sz="quarter" idx="11" hasCustomPrompt="1"/>
          </p:nvPr>
        </p:nvSpPr>
        <p:spPr>
          <a:xfrm>
            <a:off x="536575" y="4023459"/>
            <a:ext cx="5416550" cy="189667"/>
          </a:xfrm>
          <a:prstGeom prst="rect">
            <a:avLst/>
          </a:prstGeom>
        </p:spPr>
        <p:txBody>
          <a:bodyPr wrap="square" lIns="18000" tIns="0" rIns="0" bIns="0" anchor="t">
            <a:spAutoFit/>
          </a:bodyPr>
          <a:lstStyle>
            <a:lvl1pPr>
              <a:defRPr sz="1100">
                <a:solidFill>
                  <a:schemeClr val="bg1"/>
                </a:solidFill>
                <a:latin typeface="+mj-lt"/>
              </a:defRPr>
            </a:lvl1pPr>
            <a:lvl2pPr marL="0" indent="0">
              <a:buNone/>
              <a:defRPr/>
            </a:lvl2pPr>
          </a:lstStyle>
          <a:p>
            <a:pPr lvl="0"/>
            <a:r>
              <a:rPr lang="de-DE" noProof="0"/>
              <a:t>Klicken um die Unterüberschrift einzufügen</a:t>
            </a:r>
          </a:p>
        </p:txBody>
      </p:sp>
      <p:sp>
        <p:nvSpPr>
          <p:cNvPr id="10" name="Datum und Ort">
            <a:extLst>
              <a:ext uri="{FF2B5EF4-FFF2-40B4-BE49-F238E27FC236}">
                <a16:creationId xmlns:a16="http://schemas.microsoft.com/office/drawing/2014/main" id="{F412FC0A-0316-4A1C-BDD0-D09FFD5AAC26}"/>
              </a:ext>
            </a:extLst>
          </p:cNvPr>
          <p:cNvSpPr>
            <a:spLocks noGrp="1"/>
          </p:cNvSpPr>
          <p:nvPr>
            <p:ph type="body" sz="quarter" idx="12" hasCustomPrompt="1"/>
          </p:nvPr>
        </p:nvSpPr>
        <p:spPr>
          <a:xfrm>
            <a:off x="536575" y="4421021"/>
            <a:ext cx="5416550" cy="189667"/>
          </a:xfrm>
          <a:prstGeom prst="rect">
            <a:avLst/>
          </a:prstGeom>
        </p:spPr>
        <p:txBody>
          <a:bodyPr lIns="18000" tIns="0" rIns="0" bIns="0" anchor="ctr">
            <a:normAutofit/>
          </a:bodyPr>
          <a:lstStyle>
            <a:lvl1pPr>
              <a:defRPr sz="1000">
                <a:solidFill>
                  <a:schemeClr val="bg1"/>
                </a:solidFill>
                <a:latin typeface="+mn-lt"/>
              </a:defRPr>
            </a:lvl1pPr>
            <a:lvl2pPr marL="0" indent="0">
              <a:buNone/>
              <a:defRPr/>
            </a:lvl2pPr>
          </a:lstStyle>
          <a:p>
            <a:pPr lvl="0"/>
            <a:r>
              <a:rPr lang="de-DE" noProof="0"/>
              <a:t>Veröffentlichungsdatum, Ort – ggf. Version (Format TT.MM.JJJJ, Ort – Version X.X)</a:t>
            </a:r>
          </a:p>
        </p:txBody>
      </p:sp>
      <p:pic>
        <p:nvPicPr>
          <p:cNvPr id="11" name="Graphic 10">
            <a:extLst>
              <a:ext uri="{FF2B5EF4-FFF2-40B4-BE49-F238E27FC236}">
                <a16:creationId xmlns:a16="http://schemas.microsoft.com/office/drawing/2014/main" id="{AA497089-D996-8BA5-ACF2-7CAED10A04E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799278" y="156539"/>
            <a:ext cx="855468" cy="1040435"/>
          </a:xfrm>
          <a:prstGeom prst="rect">
            <a:avLst/>
          </a:prstGeom>
        </p:spPr>
      </p:pic>
      <p:sp>
        <p:nvSpPr>
          <p:cNvPr id="2" name="Title 1">
            <a:extLst>
              <a:ext uri="{FF2B5EF4-FFF2-40B4-BE49-F238E27FC236}">
                <a16:creationId xmlns:a16="http://schemas.microsoft.com/office/drawing/2014/main" id="{6009852B-458E-93C7-3276-73B689031068}"/>
              </a:ext>
            </a:extLst>
          </p:cNvPr>
          <p:cNvSpPr>
            <a:spLocks noGrp="1"/>
          </p:cNvSpPr>
          <p:nvPr>
            <p:ph type="title" hasCustomPrompt="1"/>
          </p:nvPr>
        </p:nvSpPr>
        <p:spPr>
          <a:xfrm>
            <a:off x="536576" y="2241550"/>
            <a:ext cx="5416550" cy="1582738"/>
          </a:xfrm>
        </p:spPr>
        <p:txBody>
          <a:bodyPr vert="horz"/>
          <a:lstStyle>
            <a:lvl1pPr>
              <a:defRPr sz="3200">
                <a:solidFill>
                  <a:schemeClr val="bg1"/>
                </a:solidFill>
              </a:defRPr>
            </a:lvl1pPr>
          </a:lstStyle>
          <a:p>
            <a:r>
              <a:rPr lang="de-DE" noProof="0"/>
              <a:t>Klicke hier um den Dokumenttitel einzufügen</a:t>
            </a:r>
          </a:p>
        </p:txBody>
      </p:sp>
      <p:sp>
        <p:nvSpPr>
          <p:cNvPr id="8" name="Textfeld 7">
            <a:extLst>
              <a:ext uri="{FF2B5EF4-FFF2-40B4-BE49-F238E27FC236}">
                <a16:creationId xmlns:a16="http://schemas.microsoft.com/office/drawing/2014/main" id="{B989E3B2-976B-0E5B-736E-E514B11991D0}"/>
              </a:ext>
            </a:extLst>
          </p:cNvPr>
          <p:cNvSpPr txBox="1"/>
          <p:nvPr userDrawn="1"/>
        </p:nvSpPr>
        <p:spPr>
          <a:xfrm>
            <a:off x="567397" y="5953827"/>
            <a:ext cx="16129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noProof="0" err="1">
                <a:solidFill>
                  <a:schemeClr val="bg1"/>
                </a:solidFill>
                <a:latin typeface="+mj-lt"/>
              </a:rPr>
              <a:t>byte.bayern</a:t>
            </a:r>
            <a:endParaRPr lang="de-DE" sz="1400" noProof="0">
              <a:solidFill>
                <a:schemeClr val="bg1"/>
              </a:solidFill>
              <a:latin typeface="+mj-lt"/>
            </a:endParaRPr>
          </a:p>
        </p:txBody>
      </p:sp>
      <p:sp>
        <p:nvSpPr>
          <p:cNvPr id="4" name="Slide Number Placeholder 27">
            <a:extLst>
              <a:ext uri="{FF2B5EF4-FFF2-40B4-BE49-F238E27FC236}">
                <a16:creationId xmlns:a16="http://schemas.microsoft.com/office/drawing/2014/main" id="{C553CDC8-B17C-1CAB-4EBF-4B195E6E23C7}"/>
              </a:ext>
            </a:extLst>
          </p:cNvPr>
          <p:cNvSpPr>
            <a:spLocks noGrp="1"/>
          </p:cNvSpPr>
          <p:nvPr>
            <p:ph type="sldNum" sz="quarter" idx="13"/>
          </p:nvPr>
        </p:nvSpPr>
        <p:spPr>
          <a:xfrm>
            <a:off x="11364688" y="6273802"/>
            <a:ext cx="681880" cy="395287"/>
          </a:xfrm>
        </p:spPr>
        <p:txBody>
          <a:bodyPr/>
          <a:lstStyle>
            <a:lvl1pPr>
              <a:defRPr>
                <a:solidFill>
                  <a:schemeClr val="bg1"/>
                </a:solidFill>
              </a:defRPr>
            </a:lvl1pPr>
          </a:lstStyle>
          <a:p>
            <a:fld id="{0016BBAD-09BD-6243-A9CA-D1F4B193196B}" type="slidenum">
              <a:rPr lang="de-DE" smtClean="0"/>
              <a:pPr/>
              <a:t>‹Nr.›</a:t>
            </a:fld>
            <a:endParaRPr lang="de-DE"/>
          </a:p>
        </p:txBody>
      </p:sp>
      <p:sp>
        <p:nvSpPr>
          <p:cNvPr id="5" name="Footer Placeholder 28">
            <a:extLst>
              <a:ext uri="{FF2B5EF4-FFF2-40B4-BE49-F238E27FC236}">
                <a16:creationId xmlns:a16="http://schemas.microsoft.com/office/drawing/2014/main" id="{A0860FAB-1092-2BC2-CFE5-43C25AF898FA}"/>
              </a:ext>
            </a:extLst>
          </p:cNvPr>
          <p:cNvSpPr>
            <a:spLocks noGrp="1"/>
          </p:cNvSpPr>
          <p:nvPr>
            <p:ph type="ftr" sz="quarter" idx="14"/>
          </p:nvPr>
        </p:nvSpPr>
        <p:spPr>
          <a:xfrm>
            <a:off x="9076291" y="6273802"/>
            <a:ext cx="2121515" cy="395287"/>
          </a:xfrm>
        </p:spPr>
        <p:txBody>
          <a:bodyPr/>
          <a:lstStyle>
            <a:lvl1pPr>
              <a:defRPr>
                <a:solidFill>
                  <a:schemeClr val="bg1"/>
                </a:solidFill>
              </a:defRPr>
            </a:lvl1pPr>
          </a:lstStyle>
          <a:p>
            <a:r>
              <a:rPr lang="de-DE"/>
              <a:t>byte – Bayerische Agentur für Digitales</a:t>
            </a:r>
          </a:p>
        </p:txBody>
      </p:sp>
      <p:pic>
        <p:nvPicPr>
          <p:cNvPr id="6" name="Grafik 5">
            <a:extLst>
              <a:ext uri="{FF2B5EF4-FFF2-40B4-BE49-F238E27FC236}">
                <a16:creationId xmlns:a16="http://schemas.microsoft.com/office/drawing/2014/main" id="{79FE219C-198F-1C6B-6308-3D147752383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637385" y="1257190"/>
            <a:ext cx="4340106" cy="4518982"/>
          </a:xfrm>
          <a:prstGeom prst="rect">
            <a:avLst/>
          </a:prstGeom>
        </p:spPr>
      </p:pic>
    </p:spTree>
    <p:extLst>
      <p:ext uri="{BB962C8B-B14F-4D97-AF65-F5344CB8AC3E}">
        <p14:creationId xmlns:p14="http://schemas.microsoft.com/office/powerpoint/2010/main" val="7448066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1/2_hell-dunkel_Überschrift_Mit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5800874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6096001" y="0"/>
            <a:ext cx="6095999"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4" y="2241550"/>
            <a:ext cx="5416551" cy="2374900"/>
          </a:xfrm>
        </p:spPr>
        <p:txBody>
          <a:bodyPr vert="horz" anchor="ct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14" name="Text Placeholder 7">
            <a:extLst>
              <a:ext uri="{FF2B5EF4-FFF2-40B4-BE49-F238E27FC236}">
                <a16:creationId xmlns:a16="http://schemas.microsoft.com/office/drawing/2014/main" id="{EB2387A1-093C-9596-BEF5-C81F21A221A8}"/>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7" name="Footer Placeholder 6">
            <a:extLst>
              <a:ext uri="{FF2B5EF4-FFF2-40B4-BE49-F238E27FC236}">
                <a16:creationId xmlns:a16="http://schemas.microsoft.com/office/drawing/2014/main" id="{4A50E7D8-783E-80E9-9BC3-14C6E61755E8}"/>
              </a:ext>
            </a:extLst>
          </p:cNvPr>
          <p:cNvSpPr>
            <a:spLocks noGrp="1"/>
          </p:cNvSpPr>
          <p:nvPr>
            <p:ph type="ftr" sz="quarter" idx="13"/>
          </p:nvPr>
        </p:nvSpPr>
        <p:spPr/>
        <p:txBody>
          <a:bodyPr/>
          <a:lstStyle>
            <a:lvl1pPr>
              <a:defRPr>
                <a:solidFill>
                  <a:schemeClr val="bg1"/>
                </a:solidFill>
              </a:defRPr>
            </a:lvl1pPr>
          </a:lstStyle>
          <a:p>
            <a:r>
              <a:rPr lang="en-GB"/>
              <a:t>byte – Bayerische Agentur für Digitales</a:t>
            </a:r>
          </a:p>
        </p:txBody>
      </p:sp>
      <p:sp>
        <p:nvSpPr>
          <p:cNvPr id="8" name="Slide Number Placeholder 7">
            <a:extLst>
              <a:ext uri="{FF2B5EF4-FFF2-40B4-BE49-F238E27FC236}">
                <a16:creationId xmlns:a16="http://schemas.microsoft.com/office/drawing/2014/main" id="{5679D286-C7F5-7302-4317-A6F58C2D9473}"/>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spTree>
    <p:extLst>
      <p:ext uri="{BB962C8B-B14F-4D97-AF65-F5344CB8AC3E}">
        <p14:creationId xmlns:p14="http://schemas.microsoft.com/office/powerpoint/2010/main" val="43335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2-1/2_hell-dunkel_Pfei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583478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6096001" y="0"/>
            <a:ext cx="6095999"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5" y="2241550"/>
            <a:ext cx="4752975" cy="2374900"/>
          </a:xfrm>
        </p:spPr>
        <p:txBody>
          <a:bodyPr vert="horz" anchor="ct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14" name="Text Placeholder 7">
            <a:extLst>
              <a:ext uri="{FF2B5EF4-FFF2-40B4-BE49-F238E27FC236}">
                <a16:creationId xmlns:a16="http://schemas.microsoft.com/office/drawing/2014/main" id="{EB2387A1-093C-9596-BEF5-C81F21A221A8}"/>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cxnSp>
        <p:nvCxnSpPr>
          <p:cNvPr id="2" name="Straight Connector 1">
            <a:extLst>
              <a:ext uri="{FF2B5EF4-FFF2-40B4-BE49-F238E27FC236}">
                <a16:creationId xmlns:a16="http://schemas.microsoft.com/office/drawing/2014/main" id="{908A778E-672D-0E26-A166-B8FE011553B4}"/>
              </a:ext>
            </a:extLst>
          </p:cNvPr>
          <p:cNvCxnSpPr/>
          <p:nvPr userDrawn="1"/>
        </p:nvCxnSpPr>
        <p:spPr>
          <a:xfrm>
            <a:off x="6096000" y="0"/>
            <a:ext cx="0" cy="6858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E467EC2F-8F68-031F-700B-2F6FA7B48352}"/>
              </a:ext>
            </a:extLst>
          </p:cNvPr>
          <p:cNvGrpSpPr/>
          <p:nvPr userDrawn="1"/>
        </p:nvGrpSpPr>
        <p:grpSpPr>
          <a:xfrm>
            <a:off x="5808041" y="3141042"/>
            <a:ext cx="575916" cy="575916"/>
            <a:chOff x="3743483" y="4425494"/>
            <a:chExt cx="666855" cy="666855"/>
          </a:xfrm>
        </p:grpSpPr>
        <p:sp>
          <p:nvSpPr>
            <p:cNvPr id="8" name="Rectangle 7">
              <a:extLst>
                <a:ext uri="{FF2B5EF4-FFF2-40B4-BE49-F238E27FC236}">
                  <a16:creationId xmlns:a16="http://schemas.microsoft.com/office/drawing/2014/main" id="{98D6AFEE-4E11-8686-323C-40DD621E422B}"/>
                </a:ext>
              </a:extLst>
            </p:cNvPr>
            <p:cNvSpPr/>
            <p:nvPr/>
          </p:nvSpPr>
          <p:spPr>
            <a:xfrm>
              <a:off x="3743483" y="4425494"/>
              <a:ext cx="666855" cy="666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9" name="Group 8">
              <a:extLst>
                <a:ext uri="{FF2B5EF4-FFF2-40B4-BE49-F238E27FC236}">
                  <a16:creationId xmlns:a16="http://schemas.microsoft.com/office/drawing/2014/main" id="{E2198A54-25D9-C0D4-3466-9FA4F9D17C41}"/>
                </a:ext>
              </a:extLst>
            </p:cNvPr>
            <p:cNvGrpSpPr/>
            <p:nvPr/>
          </p:nvGrpSpPr>
          <p:grpSpPr>
            <a:xfrm rot="16200000">
              <a:off x="3868225" y="4696474"/>
              <a:ext cx="417371" cy="124895"/>
              <a:chOff x="3076628" y="4892798"/>
              <a:chExt cx="666855" cy="199551"/>
            </a:xfrm>
          </p:grpSpPr>
          <p:cxnSp>
            <p:nvCxnSpPr>
              <p:cNvPr id="10" name="Straight Connector 9">
                <a:extLst>
                  <a:ext uri="{FF2B5EF4-FFF2-40B4-BE49-F238E27FC236}">
                    <a16:creationId xmlns:a16="http://schemas.microsoft.com/office/drawing/2014/main" id="{4B065109-94EE-56F9-8E28-F2D937A53AE9}"/>
                  </a:ext>
                </a:extLst>
              </p:cNvPr>
              <p:cNvCxnSpPr>
                <a:cxnSpLocks/>
              </p:cNvCxnSpPr>
              <p:nvPr/>
            </p:nvCxnSpPr>
            <p:spPr>
              <a:xfrm>
                <a:off x="3076628"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C8A1142-5016-CB74-2000-E767AFC698FF}"/>
                  </a:ext>
                </a:extLst>
              </p:cNvPr>
              <p:cNvCxnSpPr>
                <a:cxnSpLocks/>
              </p:cNvCxnSpPr>
              <p:nvPr/>
            </p:nvCxnSpPr>
            <p:spPr>
              <a:xfrm flipH="1">
                <a:off x="3410056"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6" name="Footer Placeholder 15">
            <a:extLst>
              <a:ext uri="{FF2B5EF4-FFF2-40B4-BE49-F238E27FC236}">
                <a16:creationId xmlns:a16="http://schemas.microsoft.com/office/drawing/2014/main" id="{6E4DA1D8-3B59-5071-628D-E447ADEECA32}"/>
              </a:ext>
            </a:extLst>
          </p:cNvPr>
          <p:cNvSpPr>
            <a:spLocks noGrp="1"/>
          </p:cNvSpPr>
          <p:nvPr>
            <p:ph type="ftr" sz="quarter" idx="13"/>
          </p:nvPr>
        </p:nvSpPr>
        <p:spPr/>
        <p:txBody>
          <a:bodyPr/>
          <a:lstStyle>
            <a:lvl1pPr>
              <a:defRPr>
                <a:solidFill>
                  <a:schemeClr val="bg1"/>
                </a:solidFill>
              </a:defRPr>
            </a:lvl1pPr>
          </a:lstStyle>
          <a:p>
            <a:r>
              <a:rPr lang="en-GB"/>
              <a:t>byte – Bayerische Agentur für Digitales</a:t>
            </a:r>
          </a:p>
        </p:txBody>
      </p:sp>
      <p:sp>
        <p:nvSpPr>
          <p:cNvPr id="17" name="Slide Number Placeholder 16">
            <a:extLst>
              <a:ext uri="{FF2B5EF4-FFF2-40B4-BE49-F238E27FC236}">
                <a16:creationId xmlns:a16="http://schemas.microsoft.com/office/drawing/2014/main" id="{5A7E87CA-5BC8-AACF-672B-D6F3302715E9}"/>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spTree>
    <p:extLst>
      <p:ext uri="{BB962C8B-B14F-4D97-AF65-F5344CB8AC3E}">
        <p14:creationId xmlns:p14="http://schemas.microsoft.com/office/powerpoint/2010/main" val="4683810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1/3_hell-dunk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6894995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8140699" y="0"/>
            <a:ext cx="4051299"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4" y="441325"/>
            <a:ext cx="7460193" cy="755650"/>
          </a:xfrm>
        </p:spPr>
        <p:txBody>
          <a:bodyPr vert="horz"/>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5" name="Text Placeholder 7">
            <a:extLst>
              <a:ext uri="{FF2B5EF4-FFF2-40B4-BE49-F238E27FC236}">
                <a16:creationId xmlns:a16="http://schemas.microsoft.com/office/drawing/2014/main" id="{31F5B46A-B710-5194-C47D-6B5162623C92}"/>
              </a:ext>
            </a:extLst>
          </p:cNvPr>
          <p:cNvSpPr>
            <a:spLocks noGrp="1"/>
          </p:cNvSpPr>
          <p:nvPr>
            <p:ph type="body" sz="quarter" idx="12" hasCustomPrompt="1"/>
          </p:nvPr>
        </p:nvSpPr>
        <p:spPr>
          <a:xfrm>
            <a:off x="8482042" y="152400"/>
            <a:ext cx="3173383"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4" name="Footer Placeholder 3">
            <a:extLst>
              <a:ext uri="{FF2B5EF4-FFF2-40B4-BE49-F238E27FC236}">
                <a16:creationId xmlns:a16="http://schemas.microsoft.com/office/drawing/2014/main" id="{C513F7F6-D743-35C0-3F60-8EAEB2FB0F3F}"/>
              </a:ext>
            </a:extLst>
          </p:cNvPr>
          <p:cNvSpPr>
            <a:spLocks noGrp="1"/>
          </p:cNvSpPr>
          <p:nvPr>
            <p:ph type="ftr" sz="quarter" idx="13"/>
          </p:nvPr>
        </p:nvSpPr>
        <p:spPr/>
        <p:txBody>
          <a:bodyPr/>
          <a:lstStyle>
            <a:lvl1pPr>
              <a:defRPr>
                <a:solidFill>
                  <a:schemeClr val="bg1"/>
                </a:solidFill>
              </a:defRPr>
            </a:lvl1pPr>
          </a:lstStyle>
          <a:p>
            <a:r>
              <a:rPr lang="en-GB"/>
              <a:t>byte – Bayerische Agentur für Digitales</a:t>
            </a:r>
          </a:p>
        </p:txBody>
      </p:sp>
      <p:sp>
        <p:nvSpPr>
          <p:cNvPr id="7" name="Slide Number Placeholder 6">
            <a:extLst>
              <a:ext uri="{FF2B5EF4-FFF2-40B4-BE49-F238E27FC236}">
                <a16:creationId xmlns:a16="http://schemas.microsoft.com/office/drawing/2014/main" id="{B9E1E32A-2B95-D939-BAAC-FD5BF268106D}"/>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cxnSp>
        <p:nvCxnSpPr>
          <p:cNvPr id="12" name="Gerader Verbinder 15">
            <a:extLst>
              <a:ext uri="{FF2B5EF4-FFF2-40B4-BE49-F238E27FC236}">
                <a16:creationId xmlns:a16="http://schemas.microsoft.com/office/drawing/2014/main" id="{1630DC47-DFC6-13D6-3935-28C0A17047C8}"/>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1139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1/3_dunkel-hel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734545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2" y="0"/>
            <a:ext cx="8140698"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4" y="441325"/>
            <a:ext cx="7459300" cy="755649"/>
          </a:xfrm>
        </p:spPr>
        <p:txBody>
          <a:bodyPr vert="horz"/>
          <a:lstStyle>
            <a:lvl1pPr>
              <a:defRPr>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8" name="Text Placeholder 7">
            <a:extLst>
              <a:ext uri="{FF2B5EF4-FFF2-40B4-BE49-F238E27FC236}">
                <a16:creationId xmlns:a16="http://schemas.microsoft.com/office/drawing/2014/main" id="{1F9D7D89-2007-BF16-B3DB-B8A3BE0A5A94}"/>
              </a:ext>
            </a:extLst>
          </p:cNvPr>
          <p:cNvSpPr>
            <a:spLocks noGrp="1"/>
          </p:cNvSpPr>
          <p:nvPr>
            <p:ph type="body" sz="quarter" idx="12" hasCustomPrompt="1"/>
          </p:nvPr>
        </p:nvSpPr>
        <p:spPr>
          <a:xfrm>
            <a:off x="8804275" y="152400"/>
            <a:ext cx="2851150"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7" name="Footer Placeholder 6">
            <a:extLst>
              <a:ext uri="{FF2B5EF4-FFF2-40B4-BE49-F238E27FC236}">
                <a16:creationId xmlns:a16="http://schemas.microsoft.com/office/drawing/2014/main" id="{DB86E93A-466F-B47D-0ADA-AFC74B4AA278}"/>
              </a:ext>
            </a:extLst>
          </p:cNvPr>
          <p:cNvSpPr>
            <a:spLocks noGrp="1"/>
          </p:cNvSpPr>
          <p:nvPr>
            <p:ph type="ftr" sz="quarter" idx="13"/>
          </p:nvPr>
        </p:nvSpPr>
        <p:spPr/>
        <p:txBody>
          <a:bodyPr/>
          <a:lstStyle/>
          <a:p>
            <a:r>
              <a:rPr lang="en-GB"/>
              <a:t>byte – Bayerische Agentur für Digitales</a:t>
            </a:r>
          </a:p>
        </p:txBody>
      </p:sp>
      <p:sp>
        <p:nvSpPr>
          <p:cNvPr id="10" name="Slide Number Placeholder 9">
            <a:extLst>
              <a:ext uri="{FF2B5EF4-FFF2-40B4-BE49-F238E27FC236}">
                <a16:creationId xmlns:a16="http://schemas.microsoft.com/office/drawing/2014/main" id="{89791BA4-F6D3-1D72-7DEA-F33D308350E4}"/>
              </a:ext>
            </a:extLst>
          </p:cNvPr>
          <p:cNvSpPr>
            <a:spLocks noGrp="1"/>
          </p:cNvSpPr>
          <p:nvPr>
            <p:ph type="sldNum" sz="quarter" idx="14"/>
          </p:nvPr>
        </p:nvSpPr>
        <p:spPr/>
        <p:txBody>
          <a:bodyPr/>
          <a:lstStyle/>
          <a:p>
            <a:fld id="{0016BBAD-09BD-6243-A9CA-D1F4B193196B}" type="slidenum">
              <a:rPr lang="en-GB" smtClean="0"/>
              <a:pPr/>
              <a:t>‹Nr.›</a:t>
            </a:fld>
            <a:endParaRPr lang="en-GB"/>
          </a:p>
        </p:txBody>
      </p:sp>
      <p:cxnSp>
        <p:nvCxnSpPr>
          <p:cNvPr id="12" name="Gerader Verbinder 15">
            <a:extLst>
              <a:ext uri="{FF2B5EF4-FFF2-40B4-BE49-F238E27FC236}">
                <a16:creationId xmlns:a16="http://schemas.microsoft.com/office/drawing/2014/main" id="{CE40E4E9-BDA8-AED4-1475-BFDDF5902878}"/>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14936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2-1/2_dunkel-hel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299667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3" y="0"/>
            <a:ext cx="6095999"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4" y="441325"/>
            <a:ext cx="5416551" cy="755649"/>
          </a:xfrm>
        </p:spPr>
        <p:txBody>
          <a:bodyPr vert="horz"/>
          <a:lstStyle>
            <a:lvl1pPr>
              <a:defRPr>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14" name="Text Placeholder 7">
            <a:extLst>
              <a:ext uri="{FF2B5EF4-FFF2-40B4-BE49-F238E27FC236}">
                <a16:creationId xmlns:a16="http://schemas.microsoft.com/office/drawing/2014/main" id="{EB2387A1-093C-9596-BEF5-C81F21A221A8}"/>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7" name="Footer Placeholder 6">
            <a:extLst>
              <a:ext uri="{FF2B5EF4-FFF2-40B4-BE49-F238E27FC236}">
                <a16:creationId xmlns:a16="http://schemas.microsoft.com/office/drawing/2014/main" id="{47AF1E24-021B-0667-1580-4F37D62BA83B}"/>
              </a:ext>
            </a:extLst>
          </p:cNvPr>
          <p:cNvSpPr>
            <a:spLocks noGrp="1"/>
          </p:cNvSpPr>
          <p:nvPr>
            <p:ph type="ftr" sz="quarter" idx="13"/>
          </p:nvPr>
        </p:nvSpPr>
        <p:spPr/>
        <p:txBody>
          <a:bodyPr/>
          <a:lstStyle/>
          <a:p>
            <a:r>
              <a:rPr lang="en-GB"/>
              <a:t>byte – Bayerische Agentur für Digitales</a:t>
            </a:r>
          </a:p>
        </p:txBody>
      </p:sp>
      <p:sp>
        <p:nvSpPr>
          <p:cNvPr id="8" name="Slide Number Placeholder 7">
            <a:extLst>
              <a:ext uri="{FF2B5EF4-FFF2-40B4-BE49-F238E27FC236}">
                <a16:creationId xmlns:a16="http://schemas.microsoft.com/office/drawing/2014/main" id="{42921739-C9E0-52E3-2405-D5E5E19A0B0F}"/>
              </a:ext>
            </a:extLst>
          </p:cNvPr>
          <p:cNvSpPr>
            <a:spLocks noGrp="1"/>
          </p:cNvSpPr>
          <p:nvPr>
            <p:ph type="sldNum" sz="quarter" idx="14"/>
          </p:nvPr>
        </p:nvSpPr>
        <p:spPr/>
        <p:txBody>
          <a:bodyPr/>
          <a:lstStyle/>
          <a:p>
            <a:fld id="{0016BBAD-09BD-6243-A9CA-D1F4B193196B}" type="slidenum">
              <a:rPr lang="en-GB" smtClean="0"/>
              <a:pPr/>
              <a:t>‹Nr.›</a:t>
            </a:fld>
            <a:endParaRPr lang="en-GB"/>
          </a:p>
        </p:txBody>
      </p:sp>
      <p:cxnSp>
        <p:nvCxnSpPr>
          <p:cNvPr id="9" name="Gerader Verbinder 15">
            <a:extLst>
              <a:ext uri="{FF2B5EF4-FFF2-40B4-BE49-F238E27FC236}">
                <a16:creationId xmlns:a16="http://schemas.microsoft.com/office/drawing/2014/main" id="{0225652F-95A9-1394-262E-ED4281339779}"/>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29398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1/2_dunkel-hell_Überschrift-Mit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841318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3" y="0"/>
            <a:ext cx="6095999"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4" y="2241550"/>
            <a:ext cx="5416551" cy="2374900"/>
          </a:xfrm>
        </p:spPr>
        <p:txBody>
          <a:bodyPr vert="horz" anchor="ctr"/>
          <a:lstStyle>
            <a:lvl1pPr>
              <a:defRPr>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14" name="Text Placeholder 7">
            <a:extLst>
              <a:ext uri="{FF2B5EF4-FFF2-40B4-BE49-F238E27FC236}">
                <a16:creationId xmlns:a16="http://schemas.microsoft.com/office/drawing/2014/main" id="{EB2387A1-093C-9596-BEF5-C81F21A221A8}"/>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8" name="Footer Placeholder 7">
            <a:extLst>
              <a:ext uri="{FF2B5EF4-FFF2-40B4-BE49-F238E27FC236}">
                <a16:creationId xmlns:a16="http://schemas.microsoft.com/office/drawing/2014/main" id="{82BD21E9-3295-D45D-2B42-7AFA35873F65}"/>
              </a:ext>
            </a:extLst>
          </p:cNvPr>
          <p:cNvSpPr>
            <a:spLocks noGrp="1"/>
          </p:cNvSpPr>
          <p:nvPr>
            <p:ph type="ftr" sz="quarter" idx="13"/>
          </p:nvPr>
        </p:nvSpPr>
        <p:spPr/>
        <p:txBody>
          <a:bodyPr/>
          <a:lstStyle/>
          <a:p>
            <a:r>
              <a:rPr lang="en-GB"/>
              <a:t>byte – Bayerische Agentur für Digitales</a:t>
            </a:r>
          </a:p>
        </p:txBody>
      </p:sp>
      <p:sp>
        <p:nvSpPr>
          <p:cNvPr id="9" name="Slide Number Placeholder 8">
            <a:extLst>
              <a:ext uri="{FF2B5EF4-FFF2-40B4-BE49-F238E27FC236}">
                <a16:creationId xmlns:a16="http://schemas.microsoft.com/office/drawing/2014/main" id="{B53949D9-6347-7E4A-C416-610BE1146D2E}"/>
              </a:ext>
            </a:extLst>
          </p:cNvPr>
          <p:cNvSpPr>
            <a:spLocks noGrp="1"/>
          </p:cNvSpPr>
          <p:nvPr>
            <p:ph type="sldNum" sz="quarter" idx="14"/>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14375180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1/2_dunkel-hell_Pfei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4499748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3" y="0"/>
            <a:ext cx="6095999"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9355" y="2241550"/>
            <a:ext cx="4750195" cy="2374900"/>
          </a:xfrm>
        </p:spPr>
        <p:txBody>
          <a:bodyPr vert="horz" anchor="ctr"/>
          <a:lstStyle>
            <a:lvl1pPr>
              <a:defRPr>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14" name="Text Placeholder 7">
            <a:extLst>
              <a:ext uri="{FF2B5EF4-FFF2-40B4-BE49-F238E27FC236}">
                <a16:creationId xmlns:a16="http://schemas.microsoft.com/office/drawing/2014/main" id="{EB2387A1-093C-9596-BEF5-C81F21A221A8}"/>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cxnSp>
        <p:nvCxnSpPr>
          <p:cNvPr id="2" name="Straight Connector 1">
            <a:extLst>
              <a:ext uri="{FF2B5EF4-FFF2-40B4-BE49-F238E27FC236}">
                <a16:creationId xmlns:a16="http://schemas.microsoft.com/office/drawing/2014/main" id="{05CFB24F-3DAA-BC7A-E65F-CC8EED683249}"/>
              </a:ext>
            </a:extLst>
          </p:cNvPr>
          <p:cNvCxnSpPr/>
          <p:nvPr userDrawn="1"/>
        </p:nvCxnSpPr>
        <p:spPr>
          <a:xfrm>
            <a:off x="6096000" y="0"/>
            <a:ext cx="0" cy="6858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0A0CB0D-D27F-B7E1-2C6E-6653902BE75D}"/>
              </a:ext>
            </a:extLst>
          </p:cNvPr>
          <p:cNvGrpSpPr/>
          <p:nvPr userDrawn="1"/>
        </p:nvGrpSpPr>
        <p:grpSpPr>
          <a:xfrm>
            <a:off x="5808041" y="3141042"/>
            <a:ext cx="575916" cy="575916"/>
            <a:chOff x="3743483" y="4425494"/>
            <a:chExt cx="666855" cy="666855"/>
          </a:xfrm>
        </p:grpSpPr>
        <p:sp>
          <p:nvSpPr>
            <p:cNvPr id="8" name="Rectangle 7">
              <a:extLst>
                <a:ext uri="{FF2B5EF4-FFF2-40B4-BE49-F238E27FC236}">
                  <a16:creationId xmlns:a16="http://schemas.microsoft.com/office/drawing/2014/main" id="{4C6C7E8A-6D8B-9A6D-ED5B-5CC574530649}"/>
                </a:ext>
              </a:extLst>
            </p:cNvPr>
            <p:cNvSpPr/>
            <p:nvPr/>
          </p:nvSpPr>
          <p:spPr>
            <a:xfrm>
              <a:off x="3743483" y="4425494"/>
              <a:ext cx="666855" cy="666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9" name="Group 8">
              <a:extLst>
                <a:ext uri="{FF2B5EF4-FFF2-40B4-BE49-F238E27FC236}">
                  <a16:creationId xmlns:a16="http://schemas.microsoft.com/office/drawing/2014/main" id="{0B576CB5-9F7C-59F5-99D0-E7691361C7B3}"/>
                </a:ext>
              </a:extLst>
            </p:cNvPr>
            <p:cNvGrpSpPr/>
            <p:nvPr/>
          </p:nvGrpSpPr>
          <p:grpSpPr>
            <a:xfrm rot="16200000">
              <a:off x="3868225" y="4696474"/>
              <a:ext cx="417371" cy="124895"/>
              <a:chOff x="3076628" y="4892798"/>
              <a:chExt cx="666855" cy="199551"/>
            </a:xfrm>
          </p:grpSpPr>
          <p:cxnSp>
            <p:nvCxnSpPr>
              <p:cNvPr id="10" name="Straight Connector 9">
                <a:extLst>
                  <a:ext uri="{FF2B5EF4-FFF2-40B4-BE49-F238E27FC236}">
                    <a16:creationId xmlns:a16="http://schemas.microsoft.com/office/drawing/2014/main" id="{4F270FD5-4F4B-BFA8-4A68-9BE44C0911BA}"/>
                  </a:ext>
                </a:extLst>
              </p:cNvPr>
              <p:cNvCxnSpPr>
                <a:cxnSpLocks/>
              </p:cNvCxnSpPr>
              <p:nvPr/>
            </p:nvCxnSpPr>
            <p:spPr>
              <a:xfrm>
                <a:off x="3076628"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2B24EEB-6ED5-CC81-07C8-8A3054C58050}"/>
                  </a:ext>
                </a:extLst>
              </p:cNvPr>
              <p:cNvCxnSpPr>
                <a:cxnSpLocks/>
              </p:cNvCxnSpPr>
              <p:nvPr/>
            </p:nvCxnSpPr>
            <p:spPr>
              <a:xfrm flipH="1">
                <a:off x="3410056"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6" name="Footer Placeholder 15">
            <a:extLst>
              <a:ext uri="{FF2B5EF4-FFF2-40B4-BE49-F238E27FC236}">
                <a16:creationId xmlns:a16="http://schemas.microsoft.com/office/drawing/2014/main" id="{0E8AA4FE-7199-5AAA-0D13-778F7DA1F4B2}"/>
              </a:ext>
            </a:extLst>
          </p:cNvPr>
          <p:cNvSpPr>
            <a:spLocks noGrp="1"/>
          </p:cNvSpPr>
          <p:nvPr>
            <p:ph type="ftr" sz="quarter" idx="13"/>
          </p:nvPr>
        </p:nvSpPr>
        <p:spPr/>
        <p:txBody>
          <a:bodyPr/>
          <a:lstStyle/>
          <a:p>
            <a:r>
              <a:rPr lang="en-GB"/>
              <a:t>byte – Bayerische Agentur für Digitales</a:t>
            </a:r>
          </a:p>
        </p:txBody>
      </p:sp>
      <p:sp>
        <p:nvSpPr>
          <p:cNvPr id="17" name="Slide Number Placeholder 16">
            <a:extLst>
              <a:ext uri="{FF2B5EF4-FFF2-40B4-BE49-F238E27FC236}">
                <a16:creationId xmlns:a16="http://schemas.microsoft.com/office/drawing/2014/main" id="{9ADFBB79-659B-255A-99E5-5CB955528CB4}"/>
              </a:ext>
            </a:extLst>
          </p:cNvPr>
          <p:cNvSpPr>
            <a:spLocks noGrp="1"/>
          </p:cNvSpPr>
          <p:nvPr>
            <p:ph type="sldNum" sz="quarter" idx="14"/>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32933580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2/3_dunkel-hell_Pfei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607562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0" y="0"/>
            <a:ext cx="4116388"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3" name="Titel 1">
            <a:extLst>
              <a:ext uri="{FF2B5EF4-FFF2-40B4-BE49-F238E27FC236}">
                <a16:creationId xmlns:a16="http://schemas.microsoft.com/office/drawing/2014/main" id="{982ED80F-1F22-211D-B74F-A25FA0A8914F}"/>
              </a:ext>
            </a:extLst>
          </p:cNvPr>
          <p:cNvSpPr>
            <a:spLocks noGrp="1"/>
          </p:cNvSpPr>
          <p:nvPr>
            <p:ph type="title" hasCustomPrompt="1"/>
          </p:nvPr>
        </p:nvSpPr>
        <p:spPr>
          <a:xfrm>
            <a:off x="536575" y="2241550"/>
            <a:ext cx="2851150" cy="2374900"/>
          </a:xfrm>
        </p:spPr>
        <p:txBody>
          <a:bodyPr vert="horz" anchor="ctr"/>
          <a:lstStyle>
            <a:lvl1pPr>
              <a:defRPr>
                <a:solidFill>
                  <a:schemeClr val="bg1"/>
                </a:solidFill>
              </a:defRPr>
            </a:lvl1pPr>
          </a:lstStyle>
          <a:p>
            <a:r>
              <a:rPr lang="en-GB" err="1"/>
              <a:t>Klicke</a:t>
            </a:r>
            <a:r>
              <a:rPr lang="en-GB"/>
              <a:t> </a:t>
            </a:r>
            <a:r>
              <a:rPr lang="en-GB" err="1"/>
              <a:t>hier</a:t>
            </a:r>
            <a:r>
              <a:rPr lang="en-GB"/>
              <a:t> um </a:t>
            </a:r>
            <a:r>
              <a:rPr lang="en-GB" err="1"/>
              <a:t>einen</a:t>
            </a:r>
            <a:r>
              <a:rPr lang="en-GB"/>
              <a:t> Action Title </a:t>
            </a:r>
            <a:r>
              <a:rPr lang="en-GB" err="1"/>
              <a:t>einzufügen</a:t>
            </a:r>
            <a:r>
              <a:rPr lang="en-GB"/>
              <a:t>.</a:t>
            </a:r>
            <a:endParaRPr lang="de-DE"/>
          </a:p>
        </p:txBody>
      </p:sp>
      <p:sp>
        <p:nvSpPr>
          <p:cNvPr id="12" name="Text Placeholder 7">
            <a:extLst>
              <a:ext uri="{FF2B5EF4-FFF2-40B4-BE49-F238E27FC236}">
                <a16:creationId xmlns:a16="http://schemas.microsoft.com/office/drawing/2014/main" id="{0E060F66-5694-3DC7-5676-373C363D8EF0}"/>
              </a:ext>
            </a:extLst>
          </p:cNvPr>
          <p:cNvSpPr>
            <a:spLocks noGrp="1"/>
          </p:cNvSpPr>
          <p:nvPr>
            <p:ph type="body" sz="quarter" idx="12" hasCustomPrompt="1"/>
          </p:nvPr>
        </p:nvSpPr>
        <p:spPr>
          <a:xfrm>
            <a:off x="6647794" y="152400"/>
            <a:ext cx="5007629" cy="180975"/>
          </a:xfrm>
        </p:spPr>
        <p:txBody>
          <a:bodyPr anchor="ctr">
            <a:noAutofit/>
          </a:bodyPr>
          <a:lstStyle>
            <a:lvl1pPr algn="r">
              <a:defRPr sz="900">
                <a:solidFill>
                  <a:schemeClr val="accent2"/>
                </a:solidFill>
              </a:defRPr>
            </a:lvl1pPr>
          </a:lstStyle>
          <a:p>
            <a:pPr lvl="0"/>
            <a:r>
              <a:rPr lang="en-GB" err="1"/>
              <a:t>Kapitel</a:t>
            </a:r>
            <a:r>
              <a:rPr lang="en-GB"/>
              <a:t> ➝ Thema</a:t>
            </a:r>
          </a:p>
        </p:txBody>
      </p:sp>
      <p:cxnSp>
        <p:nvCxnSpPr>
          <p:cNvPr id="2" name="Straight Connector 1">
            <a:extLst>
              <a:ext uri="{FF2B5EF4-FFF2-40B4-BE49-F238E27FC236}">
                <a16:creationId xmlns:a16="http://schemas.microsoft.com/office/drawing/2014/main" id="{0FEC3658-9E37-8DE5-DEDA-4F5B10C0503A}"/>
              </a:ext>
            </a:extLst>
          </p:cNvPr>
          <p:cNvCxnSpPr/>
          <p:nvPr userDrawn="1"/>
        </p:nvCxnSpPr>
        <p:spPr>
          <a:xfrm>
            <a:off x="4116388" y="0"/>
            <a:ext cx="0" cy="685800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0CB82875-5A43-5D2A-FCBE-70412961202F}"/>
              </a:ext>
            </a:extLst>
          </p:cNvPr>
          <p:cNvGrpSpPr/>
          <p:nvPr userDrawn="1"/>
        </p:nvGrpSpPr>
        <p:grpSpPr>
          <a:xfrm>
            <a:off x="3828429" y="3141042"/>
            <a:ext cx="575916" cy="575916"/>
            <a:chOff x="3743483" y="4425494"/>
            <a:chExt cx="666855" cy="666855"/>
          </a:xfrm>
        </p:grpSpPr>
        <p:sp>
          <p:nvSpPr>
            <p:cNvPr id="8" name="Rectangle 7">
              <a:extLst>
                <a:ext uri="{FF2B5EF4-FFF2-40B4-BE49-F238E27FC236}">
                  <a16:creationId xmlns:a16="http://schemas.microsoft.com/office/drawing/2014/main" id="{6E3D88A9-DCCA-BA00-EB8A-6BD711F25761}"/>
                </a:ext>
              </a:extLst>
            </p:cNvPr>
            <p:cNvSpPr/>
            <p:nvPr/>
          </p:nvSpPr>
          <p:spPr>
            <a:xfrm>
              <a:off x="3743483" y="4425494"/>
              <a:ext cx="666855" cy="6668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grpSp>
          <p:nvGrpSpPr>
            <p:cNvPr id="9" name="Group 8">
              <a:extLst>
                <a:ext uri="{FF2B5EF4-FFF2-40B4-BE49-F238E27FC236}">
                  <a16:creationId xmlns:a16="http://schemas.microsoft.com/office/drawing/2014/main" id="{92484BE1-B09F-BD37-A52D-443E13FB2237}"/>
                </a:ext>
              </a:extLst>
            </p:cNvPr>
            <p:cNvGrpSpPr/>
            <p:nvPr/>
          </p:nvGrpSpPr>
          <p:grpSpPr>
            <a:xfrm rot="16200000">
              <a:off x="3868225" y="4696474"/>
              <a:ext cx="417371" cy="124895"/>
              <a:chOff x="3076628" y="4892798"/>
              <a:chExt cx="666855" cy="199551"/>
            </a:xfrm>
          </p:grpSpPr>
          <p:cxnSp>
            <p:nvCxnSpPr>
              <p:cNvPr id="10" name="Straight Connector 9">
                <a:extLst>
                  <a:ext uri="{FF2B5EF4-FFF2-40B4-BE49-F238E27FC236}">
                    <a16:creationId xmlns:a16="http://schemas.microsoft.com/office/drawing/2014/main" id="{86362A9A-EFB5-428C-1062-02D823EF366F}"/>
                  </a:ext>
                </a:extLst>
              </p:cNvPr>
              <p:cNvCxnSpPr>
                <a:cxnSpLocks/>
              </p:cNvCxnSpPr>
              <p:nvPr/>
            </p:nvCxnSpPr>
            <p:spPr>
              <a:xfrm>
                <a:off x="3076628"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44144D1-A58A-826F-5492-9AA54A919761}"/>
                  </a:ext>
                </a:extLst>
              </p:cNvPr>
              <p:cNvCxnSpPr>
                <a:cxnSpLocks/>
              </p:cNvCxnSpPr>
              <p:nvPr/>
            </p:nvCxnSpPr>
            <p:spPr>
              <a:xfrm flipH="1">
                <a:off x="3410056" y="4892798"/>
                <a:ext cx="333427" cy="19955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5" name="Footer Placeholder 14">
            <a:extLst>
              <a:ext uri="{FF2B5EF4-FFF2-40B4-BE49-F238E27FC236}">
                <a16:creationId xmlns:a16="http://schemas.microsoft.com/office/drawing/2014/main" id="{706BB120-3D00-0AC8-2B34-6B6922B591E8}"/>
              </a:ext>
            </a:extLst>
          </p:cNvPr>
          <p:cNvSpPr>
            <a:spLocks noGrp="1"/>
          </p:cNvSpPr>
          <p:nvPr>
            <p:ph type="ftr" sz="quarter" idx="13"/>
          </p:nvPr>
        </p:nvSpPr>
        <p:spPr/>
        <p:txBody>
          <a:bodyPr/>
          <a:lstStyle/>
          <a:p>
            <a:r>
              <a:rPr lang="en-GB"/>
              <a:t>byte – Bayerische Agentur für Digitales</a:t>
            </a:r>
          </a:p>
        </p:txBody>
      </p:sp>
      <p:sp>
        <p:nvSpPr>
          <p:cNvPr id="16" name="Slide Number Placeholder 15">
            <a:extLst>
              <a:ext uri="{FF2B5EF4-FFF2-40B4-BE49-F238E27FC236}">
                <a16:creationId xmlns:a16="http://schemas.microsoft.com/office/drawing/2014/main" id="{DB05D78D-AA29-240E-E65C-0D1DF97F1EF2}"/>
              </a:ext>
            </a:extLst>
          </p:cNvPr>
          <p:cNvSpPr>
            <a:spLocks noGrp="1"/>
          </p:cNvSpPr>
          <p:nvPr>
            <p:ph type="sldNum" sz="quarter" idx="14"/>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17076664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eer_hel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7617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 Placeholder 7">
            <a:extLst>
              <a:ext uri="{FF2B5EF4-FFF2-40B4-BE49-F238E27FC236}">
                <a16:creationId xmlns:a16="http://schemas.microsoft.com/office/drawing/2014/main" id="{B03FDA2B-2F11-995F-F9A0-CB3C1B0BE403}"/>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4" name="Footer Placeholder 3">
            <a:extLst>
              <a:ext uri="{FF2B5EF4-FFF2-40B4-BE49-F238E27FC236}">
                <a16:creationId xmlns:a16="http://schemas.microsoft.com/office/drawing/2014/main" id="{8FE075C5-120E-7CC6-92A3-EF9864090049}"/>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9EE36D80-8BCE-B6C9-2743-03DD72DB5766}"/>
              </a:ext>
            </a:extLst>
          </p:cNvPr>
          <p:cNvSpPr>
            <a:spLocks noGrp="1"/>
          </p:cNvSpPr>
          <p:nvPr>
            <p:ph type="sldNum" sz="quarter" idx="14"/>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12531584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eer_Kar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7617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8FE075C5-120E-7CC6-92A3-EF9864090049}"/>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9EE36D80-8BCE-B6C9-2743-03DD72DB5766}"/>
              </a:ext>
            </a:extLst>
          </p:cNvPr>
          <p:cNvSpPr>
            <a:spLocks noGrp="1"/>
          </p:cNvSpPr>
          <p:nvPr>
            <p:ph type="sldNum" sz="quarter" idx="14"/>
          </p:nvPr>
        </p:nvSpPr>
        <p:spPr/>
        <p:txBody>
          <a:bodyPr/>
          <a:lstStyle/>
          <a:p>
            <a:fld id="{0016BBAD-09BD-6243-A9CA-D1F4B193196B}" type="slidenum">
              <a:rPr lang="en-GB" smtClean="0"/>
              <a:pPr/>
              <a:t>‹Nr.›</a:t>
            </a:fld>
            <a:endParaRPr lang="en-GB"/>
          </a:p>
        </p:txBody>
      </p:sp>
      <p:pic>
        <p:nvPicPr>
          <p:cNvPr id="2" name="Grafik 9">
            <a:extLst>
              <a:ext uri="{FF2B5EF4-FFF2-40B4-BE49-F238E27FC236}">
                <a16:creationId xmlns:a16="http://schemas.microsoft.com/office/drawing/2014/main" id="{27F49117-BFD5-A149-9C63-B69F1D98332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sp>
        <p:nvSpPr>
          <p:cNvPr id="5" name="Text Placeholder 7">
            <a:extLst>
              <a:ext uri="{FF2B5EF4-FFF2-40B4-BE49-F238E27FC236}">
                <a16:creationId xmlns:a16="http://schemas.microsoft.com/office/drawing/2014/main" id="{6116CFAE-9AC6-CBC7-F703-CEFFEA77807F}"/>
              </a:ext>
            </a:extLst>
          </p:cNvPr>
          <p:cNvSpPr>
            <a:spLocks noGrp="1"/>
          </p:cNvSpPr>
          <p:nvPr>
            <p:ph type="body" sz="quarter" idx="12" hasCustomPrompt="1"/>
          </p:nvPr>
        </p:nvSpPr>
        <p:spPr>
          <a:xfrm>
            <a:off x="3983967" y="152400"/>
            <a:ext cx="5106057" cy="180975"/>
          </a:xfrm>
        </p:spPr>
        <p:txBody>
          <a:bodyPr anchor="ctr">
            <a:noAutofit/>
          </a:bodyPr>
          <a:lstStyle>
            <a:lvl1pPr algn="r">
              <a:defRPr sz="900">
                <a:solidFill>
                  <a:schemeClr val="accent2"/>
                </a:solidFill>
              </a:defRPr>
            </a:lvl1pPr>
          </a:lstStyle>
          <a:p>
            <a:pPr lvl="0"/>
            <a:r>
              <a:rPr lang="en-GB" err="1"/>
              <a:t>Kapitel</a:t>
            </a:r>
            <a:r>
              <a:rPr lang="en-GB"/>
              <a:t> ➝ Thema</a:t>
            </a:r>
          </a:p>
        </p:txBody>
      </p:sp>
    </p:spTree>
    <p:extLst>
      <p:ext uri="{BB962C8B-B14F-4D97-AF65-F5344CB8AC3E}">
        <p14:creationId xmlns:p14="http://schemas.microsoft.com/office/powerpoint/2010/main" val="1750165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folie dunkel">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415DE4A9-6925-B582-1650-4DFE01BA18C3}"/>
              </a:ext>
            </a:extLst>
          </p:cNvPr>
          <p:cNvSpPr/>
          <p:nvPr userDrawn="1"/>
        </p:nvSpPr>
        <p:spPr>
          <a:xfrm>
            <a:off x="0" y="0"/>
            <a:ext cx="12192000" cy="515566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graphicFrame>
        <p:nvGraphicFramePr>
          <p:cNvPr id="16" name="Object 15" hidden="1">
            <a:extLst>
              <a:ext uri="{FF2B5EF4-FFF2-40B4-BE49-F238E27FC236}">
                <a16:creationId xmlns:a16="http://schemas.microsoft.com/office/drawing/2014/main" id="{E7C1F37D-53E1-FECE-AF3E-DDD8675CC25E}"/>
              </a:ext>
            </a:extLst>
          </p:cNvPr>
          <p:cNvGraphicFramePr>
            <a:graphicFrameLocks noChangeAspect="1"/>
          </p:cNvGraphicFramePr>
          <p:nvPr userDrawn="1">
            <p:custDataLst>
              <p:tags r:id="rId1"/>
            </p:custDataLst>
            <p:extLst>
              <p:ext uri="{D42A27DB-BD31-4B8C-83A1-F6EECF244321}">
                <p14:modId xmlns:p14="http://schemas.microsoft.com/office/powerpoint/2010/main" val="2513346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6" name="Object 15" hidden="1">
                        <a:extLst>
                          <a:ext uri="{FF2B5EF4-FFF2-40B4-BE49-F238E27FC236}">
                            <a16:creationId xmlns:a16="http://schemas.microsoft.com/office/drawing/2014/main" id="{E7C1F37D-53E1-FECE-AF3E-DDD8675CC25E}"/>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AA497089-D996-8BA5-ACF2-7CAED10A04E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98598" y="156539"/>
            <a:ext cx="856828" cy="1040435"/>
          </a:xfrm>
          <a:prstGeom prst="rect">
            <a:avLst/>
          </a:prstGeom>
        </p:spPr>
      </p:pic>
      <p:sp>
        <p:nvSpPr>
          <p:cNvPr id="12" name="Vertraulich Hinweis">
            <a:extLst>
              <a:ext uri="{FF2B5EF4-FFF2-40B4-BE49-F238E27FC236}">
                <a16:creationId xmlns:a16="http://schemas.microsoft.com/office/drawing/2014/main" id="{26FC7AAC-BB3A-9497-EED0-B9E1DAD0E656}"/>
              </a:ext>
            </a:extLst>
          </p:cNvPr>
          <p:cNvSpPr txBox="1"/>
          <p:nvPr userDrawn="1"/>
        </p:nvSpPr>
        <p:spPr>
          <a:xfrm>
            <a:off x="536575" y="6296474"/>
            <a:ext cx="4412860" cy="215444"/>
          </a:xfrm>
          <a:prstGeom prst="rect">
            <a:avLst/>
          </a:prstGeom>
          <a:noFill/>
        </p:spPr>
        <p:txBody>
          <a:bodyPr wrap="square" lIns="0" tIns="0" rIns="0" bIns="0" rtlCol="0">
            <a:spAutoFit/>
          </a:bodyPr>
          <a:lstStyle/>
          <a:p>
            <a:pPr algn="l"/>
            <a:r>
              <a:rPr lang="de-DE" sz="700" noProof="0">
                <a:latin typeface="+mn-lt"/>
              </a:rPr>
              <a:t>VERTRAULICH</a:t>
            </a:r>
            <a:br>
              <a:rPr lang="de-DE" sz="700" noProof="0">
                <a:latin typeface="+mn-lt"/>
              </a:rPr>
            </a:br>
            <a:r>
              <a:rPr lang="de-DE" sz="700" noProof="0">
                <a:latin typeface="+mn-lt"/>
              </a:rPr>
              <a:t>Jegliche Verwendung dieses Dokumentes ohne vorherige Freigabe durch die byte ist strengstens untersagt. </a:t>
            </a:r>
          </a:p>
        </p:txBody>
      </p:sp>
      <p:pic>
        <p:nvPicPr>
          <p:cNvPr id="13" name="Pulse">
            <a:extLst>
              <a:ext uri="{FF2B5EF4-FFF2-40B4-BE49-F238E27FC236}">
                <a16:creationId xmlns:a16="http://schemas.microsoft.com/office/drawing/2014/main" id="{351C3F90-B3B1-6965-D09B-5F4592D7659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8868" y="4979179"/>
            <a:ext cx="10474264" cy="858868"/>
          </a:xfrm>
          <a:prstGeom prst="rect">
            <a:avLst/>
          </a:prstGeom>
        </p:spPr>
      </p:pic>
      <p:sp>
        <p:nvSpPr>
          <p:cNvPr id="2" name="Title 1">
            <a:extLst>
              <a:ext uri="{FF2B5EF4-FFF2-40B4-BE49-F238E27FC236}">
                <a16:creationId xmlns:a16="http://schemas.microsoft.com/office/drawing/2014/main" id="{6009852B-458E-93C7-3276-73B689031068}"/>
              </a:ext>
            </a:extLst>
          </p:cNvPr>
          <p:cNvSpPr>
            <a:spLocks noGrp="1"/>
          </p:cNvSpPr>
          <p:nvPr>
            <p:ph type="title" hasCustomPrompt="1"/>
          </p:nvPr>
        </p:nvSpPr>
        <p:spPr>
          <a:xfrm>
            <a:off x="536576" y="2241550"/>
            <a:ext cx="5416550" cy="1582738"/>
          </a:xfrm>
        </p:spPr>
        <p:txBody>
          <a:bodyPr vert="horz"/>
          <a:lstStyle>
            <a:lvl1pPr>
              <a:defRPr sz="3200">
                <a:solidFill>
                  <a:schemeClr val="bg1"/>
                </a:solidFill>
              </a:defRPr>
            </a:lvl1pPr>
          </a:lstStyle>
          <a:p>
            <a:r>
              <a:rPr lang="de-DE" noProof="0"/>
              <a:t>Klicke hier um den Dokumenttitel einzufügen</a:t>
            </a:r>
          </a:p>
        </p:txBody>
      </p:sp>
      <p:sp>
        <p:nvSpPr>
          <p:cNvPr id="28" name="Slide Number Placeholder 27">
            <a:extLst>
              <a:ext uri="{FF2B5EF4-FFF2-40B4-BE49-F238E27FC236}">
                <a16:creationId xmlns:a16="http://schemas.microsoft.com/office/drawing/2014/main" id="{7B9AF9DF-38D0-3317-9065-4B13C59E5CB0}"/>
              </a:ext>
            </a:extLst>
          </p:cNvPr>
          <p:cNvSpPr>
            <a:spLocks noGrp="1"/>
          </p:cNvSpPr>
          <p:nvPr>
            <p:ph type="sldNum" sz="quarter" idx="13"/>
          </p:nvPr>
        </p:nvSpPr>
        <p:spPr/>
        <p:txBody>
          <a:bodyPr/>
          <a:lstStyle/>
          <a:p>
            <a:fld id="{0016BBAD-09BD-6243-A9CA-D1F4B193196B}" type="slidenum">
              <a:rPr lang="de-DE" noProof="0" smtClean="0"/>
              <a:pPr/>
              <a:t>‹Nr.›</a:t>
            </a:fld>
            <a:endParaRPr lang="de-DE" noProof="0"/>
          </a:p>
        </p:txBody>
      </p:sp>
      <p:sp>
        <p:nvSpPr>
          <p:cNvPr id="29" name="Footer Placeholder 28">
            <a:extLst>
              <a:ext uri="{FF2B5EF4-FFF2-40B4-BE49-F238E27FC236}">
                <a16:creationId xmlns:a16="http://schemas.microsoft.com/office/drawing/2014/main" id="{07DE899E-9B31-C85D-FA0D-B3290108A564}"/>
              </a:ext>
            </a:extLst>
          </p:cNvPr>
          <p:cNvSpPr>
            <a:spLocks noGrp="1"/>
          </p:cNvSpPr>
          <p:nvPr>
            <p:ph type="ftr" sz="quarter" idx="14"/>
          </p:nvPr>
        </p:nvSpPr>
        <p:spPr/>
        <p:txBody>
          <a:bodyPr/>
          <a:lstStyle/>
          <a:p>
            <a:r>
              <a:rPr lang="de-DE" noProof="0"/>
              <a:t>byte – Bayerische Agentur für Digitales</a:t>
            </a:r>
          </a:p>
        </p:txBody>
      </p:sp>
      <p:cxnSp>
        <p:nvCxnSpPr>
          <p:cNvPr id="22" name="Gerader Verbinder 13">
            <a:extLst>
              <a:ext uri="{FF2B5EF4-FFF2-40B4-BE49-F238E27FC236}">
                <a16:creationId xmlns:a16="http://schemas.microsoft.com/office/drawing/2014/main" id="{E2BDEBC0-76FA-19BD-9DF5-E59E12B90409}"/>
              </a:ext>
            </a:extLst>
          </p:cNvPr>
          <p:cNvCxnSpPr>
            <a:cxnSpLocks/>
          </p:cNvCxnSpPr>
          <p:nvPr userDrawn="1"/>
        </p:nvCxnSpPr>
        <p:spPr>
          <a:xfrm>
            <a:off x="536575" y="6208496"/>
            <a:ext cx="161290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Textfeld 3">
            <a:extLst>
              <a:ext uri="{FF2B5EF4-FFF2-40B4-BE49-F238E27FC236}">
                <a16:creationId xmlns:a16="http://schemas.microsoft.com/office/drawing/2014/main" id="{68D6E5CB-C62B-7073-A1A1-A52C5407CD20}"/>
              </a:ext>
            </a:extLst>
          </p:cNvPr>
          <p:cNvSpPr txBox="1"/>
          <p:nvPr userDrawn="1"/>
        </p:nvSpPr>
        <p:spPr>
          <a:xfrm>
            <a:off x="567397" y="5953827"/>
            <a:ext cx="16129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noProof="0" err="1">
                <a:solidFill>
                  <a:schemeClr val="tx1"/>
                </a:solidFill>
                <a:latin typeface="+mj-lt"/>
              </a:rPr>
              <a:t>byte.bayern</a:t>
            </a:r>
            <a:endParaRPr lang="de-DE" sz="1400" noProof="0">
              <a:solidFill>
                <a:schemeClr val="tx1"/>
              </a:solidFill>
              <a:latin typeface="+mj-lt"/>
            </a:endParaRPr>
          </a:p>
        </p:txBody>
      </p:sp>
      <p:pic>
        <p:nvPicPr>
          <p:cNvPr id="8" name="Grafik 7">
            <a:extLst>
              <a:ext uri="{FF2B5EF4-FFF2-40B4-BE49-F238E27FC236}">
                <a16:creationId xmlns:a16="http://schemas.microsoft.com/office/drawing/2014/main" id="{574DC6C8-66B1-8EE0-DD54-FC4A7B2AEAB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7637385" y="1257190"/>
            <a:ext cx="4340106" cy="4518982"/>
          </a:xfrm>
          <a:prstGeom prst="rect">
            <a:avLst/>
          </a:prstGeom>
        </p:spPr>
      </p:pic>
    </p:spTree>
    <p:extLst>
      <p:ext uri="{BB962C8B-B14F-4D97-AF65-F5344CB8AC3E}">
        <p14:creationId xmlns:p14="http://schemas.microsoft.com/office/powerpoint/2010/main" val="345868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eer_Karte_dunkel">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82E07C7E-FAFA-B4A0-2701-9D05FC5E8D0C}"/>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76171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9EE36D80-8BCE-B6C9-2743-03DD72DB5766}"/>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pic>
        <p:nvPicPr>
          <p:cNvPr id="2" name="Grafik 9">
            <a:extLst>
              <a:ext uri="{FF2B5EF4-FFF2-40B4-BE49-F238E27FC236}">
                <a16:creationId xmlns:a16="http://schemas.microsoft.com/office/drawing/2014/main" id="{27F49117-BFD5-A149-9C63-B69F1D98332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sp>
        <p:nvSpPr>
          <p:cNvPr id="5" name="Text Placeholder 7">
            <a:extLst>
              <a:ext uri="{FF2B5EF4-FFF2-40B4-BE49-F238E27FC236}">
                <a16:creationId xmlns:a16="http://schemas.microsoft.com/office/drawing/2014/main" id="{6116CFAE-9AC6-CBC7-F703-CEFFEA77807F}"/>
              </a:ext>
            </a:extLst>
          </p:cNvPr>
          <p:cNvSpPr>
            <a:spLocks noGrp="1"/>
          </p:cNvSpPr>
          <p:nvPr>
            <p:ph type="body" sz="quarter" idx="12" hasCustomPrompt="1"/>
          </p:nvPr>
        </p:nvSpPr>
        <p:spPr>
          <a:xfrm>
            <a:off x="3983967" y="152400"/>
            <a:ext cx="5106057"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4" name="Footer Placeholder 3">
            <a:extLst>
              <a:ext uri="{FF2B5EF4-FFF2-40B4-BE49-F238E27FC236}">
                <a16:creationId xmlns:a16="http://schemas.microsoft.com/office/drawing/2014/main" id="{8FE075C5-120E-7CC6-92A3-EF9864090049}"/>
              </a:ext>
            </a:extLst>
          </p:cNvPr>
          <p:cNvSpPr>
            <a:spLocks noGrp="1"/>
          </p:cNvSpPr>
          <p:nvPr>
            <p:ph type="ftr" sz="quarter" idx="13"/>
          </p:nvPr>
        </p:nvSpPr>
        <p:spPr/>
        <p:txBody>
          <a:bodyPr/>
          <a:lstStyle>
            <a:lvl1pPr>
              <a:defRPr>
                <a:solidFill>
                  <a:schemeClr val="bg1"/>
                </a:solidFill>
              </a:defRPr>
            </a:lvl1pPr>
          </a:lstStyle>
          <a:p>
            <a:r>
              <a:rPr lang="en-GB"/>
              <a:t>byte – </a:t>
            </a:r>
            <a:r>
              <a:rPr lang="en-GB" err="1"/>
              <a:t>Bayerische</a:t>
            </a:r>
            <a:r>
              <a:rPr lang="en-GB"/>
              <a:t> Agentur für </a:t>
            </a:r>
            <a:r>
              <a:rPr lang="en-GB" err="1"/>
              <a:t>Digitales</a:t>
            </a:r>
            <a:endParaRPr lang="en-GB"/>
          </a:p>
        </p:txBody>
      </p:sp>
    </p:spTree>
    <p:extLst>
      <p:ext uri="{BB962C8B-B14F-4D97-AF65-F5344CB8AC3E}">
        <p14:creationId xmlns:p14="http://schemas.microsoft.com/office/powerpoint/2010/main" val="25679696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er_dunk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6649704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7" name="Text Placeholder 7">
            <a:extLst>
              <a:ext uri="{FF2B5EF4-FFF2-40B4-BE49-F238E27FC236}">
                <a16:creationId xmlns:a16="http://schemas.microsoft.com/office/drawing/2014/main" id="{2A1CDD7D-C793-50E5-C8A9-DD159142C11C}"/>
              </a:ext>
            </a:extLst>
          </p:cNvPr>
          <p:cNvSpPr>
            <a:spLocks noGrp="1"/>
          </p:cNvSpPr>
          <p:nvPr>
            <p:ph type="body" sz="quarter" idx="12" hasCustomPrompt="1"/>
          </p:nvPr>
        </p:nvSpPr>
        <p:spPr>
          <a:xfrm>
            <a:off x="6647794" y="152400"/>
            <a:ext cx="5007631" cy="180975"/>
          </a:xfrm>
        </p:spPr>
        <p:txBody>
          <a:bodyPr anchor="ctr">
            <a:noAutofit/>
          </a:bodyPr>
          <a:lstStyle>
            <a:lvl1pPr algn="r">
              <a:defRPr sz="900">
                <a:solidFill>
                  <a:schemeClr val="accent2"/>
                </a:solidFill>
              </a:defRPr>
            </a:lvl1pPr>
          </a:lstStyle>
          <a:p>
            <a:pPr lvl="0"/>
            <a:r>
              <a:rPr lang="en-GB" err="1"/>
              <a:t>Kapitel</a:t>
            </a:r>
            <a:r>
              <a:rPr lang="en-GB"/>
              <a:t> ➝ Thema</a:t>
            </a:r>
          </a:p>
        </p:txBody>
      </p:sp>
      <p:sp>
        <p:nvSpPr>
          <p:cNvPr id="3" name="Footer Placeholder 2">
            <a:extLst>
              <a:ext uri="{FF2B5EF4-FFF2-40B4-BE49-F238E27FC236}">
                <a16:creationId xmlns:a16="http://schemas.microsoft.com/office/drawing/2014/main" id="{12D44D59-D17B-5270-6E07-4D5938B6DF12}"/>
              </a:ext>
            </a:extLst>
          </p:cNvPr>
          <p:cNvSpPr>
            <a:spLocks noGrp="1"/>
          </p:cNvSpPr>
          <p:nvPr>
            <p:ph type="ftr" sz="quarter" idx="13"/>
          </p:nvPr>
        </p:nvSpPr>
        <p:spPr/>
        <p:txBody>
          <a:bodyPr/>
          <a:lstStyle>
            <a:lvl1pPr>
              <a:defRPr>
                <a:solidFill>
                  <a:schemeClr val="bg1"/>
                </a:solidFill>
              </a:defRPr>
            </a:lvl1pPr>
          </a:lstStyle>
          <a:p>
            <a:r>
              <a:rPr lang="en-GB"/>
              <a:t>byte – Bayerische Agentur für Digitales</a:t>
            </a:r>
          </a:p>
        </p:txBody>
      </p:sp>
      <p:sp>
        <p:nvSpPr>
          <p:cNvPr id="4" name="Slide Number Placeholder 3">
            <a:extLst>
              <a:ext uri="{FF2B5EF4-FFF2-40B4-BE49-F238E27FC236}">
                <a16:creationId xmlns:a16="http://schemas.microsoft.com/office/drawing/2014/main" id="{62D54C8E-8E51-F1BE-CBC2-A6D29C7D74DA}"/>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spTree>
    <p:extLst>
      <p:ext uri="{BB962C8B-B14F-4D97-AF65-F5344CB8AC3E}">
        <p14:creationId xmlns:p14="http://schemas.microsoft.com/office/powerpoint/2010/main" val="21676925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32690944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6F301981-1E5E-0351-EDAF-81E2876C1007}"/>
              </a:ext>
            </a:extLst>
          </p:cNvPr>
          <p:cNvSpPr txBox="1"/>
          <p:nvPr userDrawn="1"/>
        </p:nvSpPr>
        <p:spPr>
          <a:xfrm>
            <a:off x="536575" y="1330821"/>
            <a:ext cx="2318030" cy="677108"/>
          </a:xfrm>
          <a:prstGeom prst="rect">
            <a:avLst/>
          </a:prstGeom>
          <a:noFill/>
        </p:spPr>
        <p:txBody>
          <a:bodyPr wrap="square" lIns="0" tIns="0" rIns="0" bIns="0" rtlCol="0">
            <a:spAutoFit/>
          </a:bodyPr>
          <a:lstStyle/>
          <a:p>
            <a:pPr algn="l"/>
            <a:r>
              <a:rPr lang="en-GB" sz="4400" u="none" baseline="0">
                <a:solidFill>
                  <a:schemeClr val="tx1"/>
                </a:solidFill>
                <a:uFill>
                  <a:solidFill>
                    <a:schemeClr val="accent2"/>
                  </a:solidFill>
                </a:uFill>
                <a:latin typeface="+mj-lt"/>
              </a:rPr>
              <a:t>Agenda.</a:t>
            </a:r>
            <a:endParaRPr lang="en-GB" sz="4400" u="none">
              <a:solidFill>
                <a:schemeClr val="tx1"/>
              </a:solidFill>
              <a:latin typeface="+mj-lt"/>
            </a:endParaRPr>
          </a:p>
        </p:txBody>
      </p:sp>
      <p:sp>
        <p:nvSpPr>
          <p:cNvPr id="9" name="Text Placeholder 8">
            <a:extLst>
              <a:ext uri="{FF2B5EF4-FFF2-40B4-BE49-F238E27FC236}">
                <a16:creationId xmlns:a16="http://schemas.microsoft.com/office/drawing/2014/main" id="{005EAE71-EEA7-1C45-1280-67678CC40621}"/>
              </a:ext>
            </a:extLst>
          </p:cNvPr>
          <p:cNvSpPr>
            <a:spLocks noGrp="1"/>
          </p:cNvSpPr>
          <p:nvPr>
            <p:ph type="body" sz="quarter" idx="13"/>
          </p:nvPr>
        </p:nvSpPr>
        <p:spPr>
          <a:xfrm>
            <a:off x="3389365" y="1447800"/>
            <a:ext cx="8266060" cy="388438"/>
          </a:xfrm>
        </p:spPr>
        <p:txBody>
          <a:bodyPr anchor="ctr">
            <a:noAutofit/>
          </a:bodyPr>
          <a:lstStyle>
            <a:lvl1pPr>
              <a:defRPr sz="2000">
                <a:latin typeface="+mj-lt"/>
              </a:defRPr>
            </a:lvl1pPr>
            <a:lvl2pPr marL="0" indent="0">
              <a:buNone/>
              <a:defRPr/>
            </a:lvl2pPr>
          </a:lstStyle>
          <a:p>
            <a:pPr lvl="0"/>
            <a:r>
              <a:rPr lang="en-GB"/>
              <a:t>Click to edit Master text styles</a:t>
            </a:r>
          </a:p>
        </p:txBody>
      </p:sp>
      <p:sp>
        <p:nvSpPr>
          <p:cNvPr id="11" name="Text Placeholder 8">
            <a:extLst>
              <a:ext uri="{FF2B5EF4-FFF2-40B4-BE49-F238E27FC236}">
                <a16:creationId xmlns:a16="http://schemas.microsoft.com/office/drawing/2014/main" id="{0DB601DD-D9B7-4CED-D1CD-FFDA2D7E28D0}"/>
              </a:ext>
            </a:extLst>
          </p:cNvPr>
          <p:cNvSpPr>
            <a:spLocks noGrp="1"/>
          </p:cNvSpPr>
          <p:nvPr>
            <p:ph type="body" sz="quarter" idx="14"/>
          </p:nvPr>
        </p:nvSpPr>
        <p:spPr>
          <a:xfrm>
            <a:off x="3389365" y="2175222"/>
            <a:ext cx="8266060" cy="388438"/>
          </a:xfrm>
        </p:spPr>
        <p:txBody>
          <a:bodyPr anchor="ctr">
            <a:noAutofit/>
          </a:bodyPr>
          <a:lstStyle>
            <a:lvl1pPr>
              <a:defRPr sz="2000"/>
            </a:lvl1pPr>
            <a:lvl2pPr marL="0" indent="0">
              <a:buNone/>
              <a:defRPr/>
            </a:lvl2pPr>
          </a:lstStyle>
          <a:p>
            <a:pPr lvl="0"/>
            <a:r>
              <a:rPr lang="en-GB"/>
              <a:t>Click to edit Master text styles</a:t>
            </a:r>
          </a:p>
        </p:txBody>
      </p:sp>
      <p:sp>
        <p:nvSpPr>
          <p:cNvPr id="12" name="Text Placeholder 8">
            <a:extLst>
              <a:ext uri="{FF2B5EF4-FFF2-40B4-BE49-F238E27FC236}">
                <a16:creationId xmlns:a16="http://schemas.microsoft.com/office/drawing/2014/main" id="{37A10FB3-C59E-ADF6-AC4B-E961C10E9DA5}"/>
              </a:ext>
            </a:extLst>
          </p:cNvPr>
          <p:cNvSpPr>
            <a:spLocks noGrp="1"/>
          </p:cNvSpPr>
          <p:nvPr>
            <p:ph type="body" sz="quarter" idx="15"/>
          </p:nvPr>
        </p:nvSpPr>
        <p:spPr>
          <a:xfrm>
            <a:off x="3389365" y="2902644"/>
            <a:ext cx="8266060" cy="388438"/>
          </a:xfrm>
        </p:spPr>
        <p:txBody>
          <a:bodyPr anchor="ctr">
            <a:noAutofit/>
          </a:bodyPr>
          <a:lstStyle>
            <a:lvl1pPr>
              <a:defRPr sz="2000"/>
            </a:lvl1pPr>
            <a:lvl2pPr marL="0" indent="0">
              <a:buNone/>
              <a:defRPr/>
            </a:lvl2pPr>
          </a:lstStyle>
          <a:p>
            <a:pPr lvl="0"/>
            <a:r>
              <a:rPr lang="en-GB"/>
              <a:t>Click to edit Master text styles</a:t>
            </a:r>
          </a:p>
        </p:txBody>
      </p:sp>
      <p:sp>
        <p:nvSpPr>
          <p:cNvPr id="13" name="Text Placeholder 8">
            <a:extLst>
              <a:ext uri="{FF2B5EF4-FFF2-40B4-BE49-F238E27FC236}">
                <a16:creationId xmlns:a16="http://schemas.microsoft.com/office/drawing/2014/main" id="{FDA70439-16AC-7206-0537-C8C92C80D780}"/>
              </a:ext>
            </a:extLst>
          </p:cNvPr>
          <p:cNvSpPr>
            <a:spLocks noGrp="1"/>
          </p:cNvSpPr>
          <p:nvPr>
            <p:ph type="body" sz="quarter" idx="16"/>
          </p:nvPr>
        </p:nvSpPr>
        <p:spPr>
          <a:xfrm>
            <a:off x="3389365" y="3630066"/>
            <a:ext cx="8266060" cy="388438"/>
          </a:xfrm>
        </p:spPr>
        <p:txBody>
          <a:bodyPr anchor="ctr">
            <a:noAutofit/>
          </a:bodyPr>
          <a:lstStyle>
            <a:lvl1pPr>
              <a:defRPr sz="2000"/>
            </a:lvl1pPr>
            <a:lvl2pPr marL="0" indent="0">
              <a:buNone/>
              <a:defRPr/>
            </a:lvl2pPr>
          </a:lstStyle>
          <a:p>
            <a:pPr lvl="0"/>
            <a:r>
              <a:rPr lang="en-GB"/>
              <a:t>Click to edit Master text styles</a:t>
            </a:r>
          </a:p>
        </p:txBody>
      </p:sp>
      <p:sp>
        <p:nvSpPr>
          <p:cNvPr id="14" name="Text Placeholder 8">
            <a:extLst>
              <a:ext uri="{FF2B5EF4-FFF2-40B4-BE49-F238E27FC236}">
                <a16:creationId xmlns:a16="http://schemas.microsoft.com/office/drawing/2014/main" id="{4C6C3727-B555-98D1-470A-CC881B8EDAB7}"/>
              </a:ext>
            </a:extLst>
          </p:cNvPr>
          <p:cNvSpPr>
            <a:spLocks noGrp="1"/>
          </p:cNvSpPr>
          <p:nvPr>
            <p:ph type="body" sz="quarter" idx="17"/>
          </p:nvPr>
        </p:nvSpPr>
        <p:spPr>
          <a:xfrm>
            <a:off x="3389365" y="4357488"/>
            <a:ext cx="8266060" cy="388438"/>
          </a:xfrm>
        </p:spPr>
        <p:txBody>
          <a:bodyPr anchor="ctr">
            <a:noAutofit/>
          </a:bodyPr>
          <a:lstStyle>
            <a:lvl1pPr>
              <a:defRPr sz="2000"/>
            </a:lvl1pPr>
            <a:lvl2pPr marL="0" indent="0">
              <a:buNone/>
              <a:defRPr/>
            </a:lvl2pPr>
          </a:lstStyle>
          <a:p>
            <a:pPr lvl="0"/>
            <a:r>
              <a:rPr lang="en-GB"/>
              <a:t>Click to edit Master text styles</a:t>
            </a:r>
          </a:p>
        </p:txBody>
      </p:sp>
      <p:sp>
        <p:nvSpPr>
          <p:cNvPr id="15" name="Text Placeholder 8">
            <a:extLst>
              <a:ext uri="{FF2B5EF4-FFF2-40B4-BE49-F238E27FC236}">
                <a16:creationId xmlns:a16="http://schemas.microsoft.com/office/drawing/2014/main" id="{18E07DCF-3394-14BB-DFEE-8E37E5F69C61}"/>
              </a:ext>
            </a:extLst>
          </p:cNvPr>
          <p:cNvSpPr>
            <a:spLocks noGrp="1"/>
          </p:cNvSpPr>
          <p:nvPr>
            <p:ph type="body" sz="quarter" idx="18"/>
          </p:nvPr>
        </p:nvSpPr>
        <p:spPr>
          <a:xfrm>
            <a:off x="3389365" y="5084910"/>
            <a:ext cx="8266060" cy="388438"/>
          </a:xfrm>
        </p:spPr>
        <p:txBody>
          <a:bodyPr anchor="ctr">
            <a:noAutofit/>
          </a:bodyPr>
          <a:lstStyle>
            <a:lvl1pPr>
              <a:defRPr sz="2000"/>
            </a:lvl1pPr>
            <a:lvl2pPr marL="0" indent="0">
              <a:buNone/>
              <a:defRPr/>
            </a:lvl2pPr>
          </a:lstStyle>
          <a:p>
            <a:pPr lvl="0"/>
            <a:r>
              <a:rPr lang="en-GB"/>
              <a:t>Click to edit Master text styles</a:t>
            </a:r>
          </a:p>
        </p:txBody>
      </p:sp>
      <p:cxnSp>
        <p:nvCxnSpPr>
          <p:cNvPr id="18" name="Gerader Verbinder 15">
            <a:extLst>
              <a:ext uri="{FF2B5EF4-FFF2-40B4-BE49-F238E27FC236}">
                <a16:creationId xmlns:a16="http://schemas.microsoft.com/office/drawing/2014/main" id="{78FF3F0B-7394-5D21-8962-DE5776A53002}"/>
              </a:ext>
            </a:extLst>
          </p:cNvPr>
          <p:cNvCxnSpPr>
            <a:cxnSpLocks/>
          </p:cNvCxnSpPr>
          <p:nvPr userDrawn="1"/>
        </p:nvCxnSpPr>
        <p:spPr>
          <a:xfrm>
            <a:off x="536575" y="1935178"/>
            <a:ext cx="42562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Gerader Verbinder 15">
            <a:extLst>
              <a:ext uri="{FF2B5EF4-FFF2-40B4-BE49-F238E27FC236}">
                <a16:creationId xmlns:a16="http://schemas.microsoft.com/office/drawing/2014/main" id="{FC19D6E9-EDA4-1DB0-2A67-9CA27470FB08}"/>
              </a:ext>
            </a:extLst>
          </p:cNvPr>
          <p:cNvCxnSpPr>
            <a:cxnSpLocks/>
          </p:cNvCxnSpPr>
          <p:nvPr userDrawn="1"/>
        </p:nvCxnSpPr>
        <p:spPr>
          <a:xfrm>
            <a:off x="1257766" y="1935178"/>
            <a:ext cx="152754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Gerader Verbinder 15">
            <a:extLst>
              <a:ext uri="{FF2B5EF4-FFF2-40B4-BE49-F238E27FC236}">
                <a16:creationId xmlns:a16="http://schemas.microsoft.com/office/drawing/2014/main" id="{0C5C8EC5-0889-3AAD-FBF3-D4586AD5B5DC}"/>
              </a:ext>
            </a:extLst>
          </p:cNvPr>
          <p:cNvCxnSpPr>
            <a:cxnSpLocks/>
          </p:cNvCxnSpPr>
          <p:nvPr userDrawn="1"/>
        </p:nvCxnSpPr>
        <p:spPr>
          <a:xfrm>
            <a:off x="3389366" y="2005730"/>
            <a:ext cx="826605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5">
            <a:extLst>
              <a:ext uri="{FF2B5EF4-FFF2-40B4-BE49-F238E27FC236}">
                <a16:creationId xmlns:a16="http://schemas.microsoft.com/office/drawing/2014/main" id="{D13D751A-3188-8DA3-75A8-DEC714E05452}"/>
              </a:ext>
            </a:extLst>
          </p:cNvPr>
          <p:cNvCxnSpPr>
            <a:cxnSpLocks/>
          </p:cNvCxnSpPr>
          <p:nvPr userDrawn="1"/>
        </p:nvCxnSpPr>
        <p:spPr>
          <a:xfrm>
            <a:off x="3389366" y="2733152"/>
            <a:ext cx="826605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5">
            <a:extLst>
              <a:ext uri="{FF2B5EF4-FFF2-40B4-BE49-F238E27FC236}">
                <a16:creationId xmlns:a16="http://schemas.microsoft.com/office/drawing/2014/main" id="{499C5000-4CCC-8EF0-E4EB-1CDFC1976B76}"/>
              </a:ext>
            </a:extLst>
          </p:cNvPr>
          <p:cNvCxnSpPr>
            <a:cxnSpLocks/>
          </p:cNvCxnSpPr>
          <p:nvPr userDrawn="1"/>
        </p:nvCxnSpPr>
        <p:spPr>
          <a:xfrm>
            <a:off x="3389366" y="3460574"/>
            <a:ext cx="826605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5">
            <a:extLst>
              <a:ext uri="{FF2B5EF4-FFF2-40B4-BE49-F238E27FC236}">
                <a16:creationId xmlns:a16="http://schemas.microsoft.com/office/drawing/2014/main" id="{91A0484C-CE7E-5718-67B2-556F641DAFCF}"/>
              </a:ext>
            </a:extLst>
          </p:cNvPr>
          <p:cNvCxnSpPr>
            <a:cxnSpLocks/>
          </p:cNvCxnSpPr>
          <p:nvPr userDrawn="1"/>
        </p:nvCxnSpPr>
        <p:spPr>
          <a:xfrm>
            <a:off x="3389366" y="4187996"/>
            <a:ext cx="826605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5">
            <a:extLst>
              <a:ext uri="{FF2B5EF4-FFF2-40B4-BE49-F238E27FC236}">
                <a16:creationId xmlns:a16="http://schemas.microsoft.com/office/drawing/2014/main" id="{97BEDB39-401D-546E-1BFB-C381D91B7D8E}"/>
              </a:ext>
            </a:extLst>
          </p:cNvPr>
          <p:cNvCxnSpPr>
            <a:cxnSpLocks/>
          </p:cNvCxnSpPr>
          <p:nvPr userDrawn="1"/>
        </p:nvCxnSpPr>
        <p:spPr>
          <a:xfrm>
            <a:off x="3389366" y="4915418"/>
            <a:ext cx="826605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Grafik 9">
            <a:extLst>
              <a:ext uri="{FF2B5EF4-FFF2-40B4-BE49-F238E27FC236}">
                <a16:creationId xmlns:a16="http://schemas.microsoft.com/office/drawing/2014/main" id="{C85A0F85-528D-42AE-E0A1-D30F795856D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sp>
        <p:nvSpPr>
          <p:cNvPr id="40" name="Text Placeholder 8">
            <a:extLst>
              <a:ext uri="{FF2B5EF4-FFF2-40B4-BE49-F238E27FC236}">
                <a16:creationId xmlns:a16="http://schemas.microsoft.com/office/drawing/2014/main" id="{BD3E758A-6B6F-7BD3-54D2-0F2F467BDCA1}"/>
              </a:ext>
            </a:extLst>
          </p:cNvPr>
          <p:cNvSpPr>
            <a:spLocks noGrp="1"/>
          </p:cNvSpPr>
          <p:nvPr>
            <p:ph type="body" sz="quarter" idx="19"/>
          </p:nvPr>
        </p:nvSpPr>
        <p:spPr>
          <a:xfrm>
            <a:off x="3389365" y="5812337"/>
            <a:ext cx="8266060" cy="388438"/>
          </a:xfrm>
        </p:spPr>
        <p:txBody>
          <a:bodyPr anchor="ctr">
            <a:noAutofit/>
          </a:bodyPr>
          <a:lstStyle>
            <a:lvl1pPr>
              <a:defRPr sz="2000"/>
            </a:lvl1pPr>
            <a:lvl2pPr marL="0" indent="0">
              <a:buNone/>
              <a:defRPr/>
            </a:lvl2pPr>
          </a:lstStyle>
          <a:p>
            <a:pPr lvl="0"/>
            <a:r>
              <a:rPr lang="en-GB"/>
              <a:t>Click to edit Master text styles</a:t>
            </a:r>
          </a:p>
        </p:txBody>
      </p:sp>
      <p:cxnSp>
        <p:nvCxnSpPr>
          <p:cNvPr id="41" name="Gerader Verbinder 15">
            <a:extLst>
              <a:ext uri="{FF2B5EF4-FFF2-40B4-BE49-F238E27FC236}">
                <a16:creationId xmlns:a16="http://schemas.microsoft.com/office/drawing/2014/main" id="{0E276237-C166-7F2C-B3DC-D7EE61ABE78C}"/>
              </a:ext>
            </a:extLst>
          </p:cNvPr>
          <p:cNvCxnSpPr>
            <a:cxnSpLocks/>
          </p:cNvCxnSpPr>
          <p:nvPr userDrawn="1"/>
        </p:nvCxnSpPr>
        <p:spPr>
          <a:xfrm>
            <a:off x="3389366" y="5642840"/>
            <a:ext cx="826605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Footer Placeholder 41">
            <a:extLst>
              <a:ext uri="{FF2B5EF4-FFF2-40B4-BE49-F238E27FC236}">
                <a16:creationId xmlns:a16="http://schemas.microsoft.com/office/drawing/2014/main" id="{8CE52EB6-7D4E-C791-4002-80B28B3BE0BC}"/>
              </a:ext>
            </a:extLst>
          </p:cNvPr>
          <p:cNvSpPr>
            <a:spLocks noGrp="1"/>
          </p:cNvSpPr>
          <p:nvPr>
            <p:ph type="ftr" sz="quarter" idx="20"/>
          </p:nvPr>
        </p:nvSpPr>
        <p:spPr/>
        <p:txBody>
          <a:bodyPr/>
          <a:lstStyle/>
          <a:p>
            <a:r>
              <a:rPr lang="en-GB"/>
              <a:t>byte – Bayerische Agentur für Digitales</a:t>
            </a:r>
          </a:p>
        </p:txBody>
      </p:sp>
      <p:sp>
        <p:nvSpPr>
          <p:cNvPr id="43" name="Slide Number Placeholder 42">
            <a:extLst>
              <a:ext uri="{FF2B5EF4-FFF2-40B4-BE49-F238E27FC236}">
                <a16:creationId xmlns:a16="http://schemas.microsoft.com/office/drawing/2014/main" id="{09F1AF5E-FE35-D55C-202E-3A7303ADC500}"/>
              </a:ext>
            </a:extLst>
          </p:cNvPr>
          <p:cNvSpPr>
            <a:spLocks noGrp="1"/>
          </p:cNvSpPr>
          <p:nvPr>
            <p:ph type="sldNum" sz="quarter" idx="21"/>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3523567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2641880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hteck 2">
            <a:extLst>
              <a:ext uri="{FF2B5EF4-FFF2-40B4-BE49-F238E27FC236}">
                <a16:creationId xmlns:a16="http://schemas.microsoft.com/office/drawing/2014/main" id="{EF620890-77E7-42FC-C8A4-A9FDB43E8FDE}"/>
              </a:ext>
            </a:extLst>
          </p:cNvPr>
          <p:cNvSpPr/>
          <p:nvPr userDrawn="1"/>
        </p:nvSpPr>
        <p:spPr>
          <a:xfrm>
            <a:off x="0" y="0"/>
            <a:ext cx="4116388"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9" name="Text Placeholder 8">
            <a:extLst>
              <a:ext uri="{FF2B5EF4-FFF2-40B4-BE49-F238E27FC236}">
                <a16:creationId xmlns:a16="http://schemas.microsoft.com/office/drawing/2014/main" id="{005EAE71-EEA7-1C45-1280-67678CC40621}"/>
              </a:ext>
            </a:extLst>
          </p:cNvPr>
          <p:cNvSpPr>
            <a:spLocks noGrp="1"/>
          </p:cNvSpPr>
          <p:nvPr>
            <p:ph type="body" sz="quarter" idx="13"/>
          </p:nvPr>
        </p:nvSpPr>
        <p:spPr>
          <a:xfrm>
            <a:off x="4340225" y="1458455"/>
            <a:ext cx="7315200" cy="386220"/>
          </a:xfrm>
        </p:spPr>
        <p:txBody>
          <a:bodyPr anchor="ctr">
            <a:noAutofit/>
          </a:bodyPr>
          <a:lstStyle>
            <a:lvl1pPr>
              <a:defRPr sz="1600">
                <a:latin typeface="+mj-lt"/>
              </a:defRPr>
            </a:lvl1pPr>
            <a:lvl2pPr marL="0" indent="0">
              <a:buNone/>
              <a:defRPr/>
            </a:lvl2pPr>
          </a:lstStyle>
          <a:p>
            <a:pPr lvl="0"/>
            <a:r>
              <a:rPr lang="en-GB"/>
              <a:t>Click to edit Master text styles</a:t>
            </a:r>
          </a:p>
        </p:txBody>
      </p:sp>
      <p:sp>
        <p:nvSpPr>
          <p:cNvPr id="11" name="Text Placeholder 8">
            <a:extLst>
              <a:ext uri="{FF2B5EF4-FFF2-40B4-BE49-F238E27FC236}">
                <a16:creationId xmlns:a16="http://schemas.microsoft.com/office/drawing/2014/main" id="{0DB601DD-D9B7-4CED-D1CD-FFDA2D7E28D0}"/>
              </a:ext>
            </a:extLst>
          </p:cNvPr>
          <p:cNvSpPr>
            <a:spLocks noGrp="1"/>
          </p:cNvSpPr>
          <p:nvPr>
            <p:ph type="body" sz="quarter" idx="14"/>
          </p:nvPr>
        </p:nvSpPr>
        <p:spPr>
          <a:xfrm>
            <a:off x="4340225" y="2183665"/>
            <a:ext cx="7315200" cy="386220"/>
          </a:xfrm>
        </p:spPr>
        <p:txBody>
          <a:bodyPr anchor="ctr">
            <a:noAutofit/>
          </a:bodyPr>
          <a:lstStyle>
            <a:lvl1pPr>
              <a:defRPr sz="1600">
                <a:latin typeface="+mn-lt"/>
              </a:defRPr>
            </a:lvl1pPr>
            <a:lvl2pPr marL="0" indent="0">
              <a:buNone/>
              <a:defRPr/>
            </a:lvl2pPr>
          </a:lstStyle>
          <a:p>
            <a:pPr lvl="0"/>
            <a:r>
              <a:rPr lang="en-GB"/>
              <a:t>Click to edit Master text styles</a:t>
            </a:r>
          </a:p>
        </p:txBody>
      </p:sp>
      <p:sp>
        <p:nvSpPr>
          <p:cNvPr id="12" name="Text Placeholder 8">
            <a:extLst>
              <a:ext uri="{FF2B5EF4-FFF2-40B4-BE49-F238E27FC236}">
                <a16:creationId xmlns:a16="http://schemas.microsoft.com/office/drawing/2014/main" id="{37A10FB3-C59E-ADF6-AC4B-E961C10E9DA5}"/>
              </a:ext>
            </a:extLst>
          </p:cNvPr>
          <p:cNvSpPr>
            <a:spLocks noGrp="1"/>
          </p:cNvSpPr>
          <p:nvPr>
            <p:ph type="body" sz="quarter" idx="15"/>
          </p:nvPr>
        </p:nvSpPr>
        <p:spPr>
          <a:xfrm>
            <a:off x="4340225" y="2908875"/>
            <a:ext cx="7315200" cy="386220"/>
          </a:xfrm>
        </p:spPr>
        <p:txBody>
          <a:bodyPr anchor="ctr">
            <a:noAutofit/>
          </a:bodyPr>
          <a:lstStyle>
            <a:lvl1pPr>
              <a:defRPr sz="1600">
                <a:latin typeface="+mn-lt"/>
              </a:defRPr>
            </a:lvl1pPr>
            <a:lvl2pPr marL="0" indent="0">
              <a:buNone/>
              <a:defRPr/>
            </a:lvl2pPr>
          </a:lstStyle>
          <a:p>
            <a:pPr lvl="0"/>
            <a:r>
              <a:rPr lang="en-GB"/>
              <a:t>Click to edit Master text styles</a:t>
            </a:r>
          </a:p>
        </p:txBody>
      </p:sp>
      <p:sp>
        <p:nvSpPr>
          <p:cNvPr id="13" name="Text Placeholder 8">
            <a:extLst>
              <a:ext uri="{FF2B5EF4-FFF2-40B4-BE49-F238E27FC236}">
                <a16:creationId xmlns:a16="http://schemas.microsoft.com/office/drawing/2014/main" id="{FDA70439-16AC-7206-0537-C8C92C80D780}"/>
              </a:ext>
            </a:extLst>
          </p:cNvPr>
          <p:cNvSpPr>
            <a:spLocks noGrp="1"/>
          </p:cNvSpPr>
          <p:nvPr>
            <p:ph type="body" sz="quarter" idx="16"/>
          </p:nvPr>
        </p:nvSpPr>
        <p:spPr>
          <a:xfrm>
            <a:off x="4340225" y="3634085"/>
            <a:ext cx="7315200" cy="386220"/>
          </a:xfrm>
        </p:spPr>
        <p:txBody>
          <a:bodyPr anchor="ctr">
            <a:noAutofit/>
          </a:bodyPr>
          <a:lstStyle>
            <a:lvl1pPr>
              <a:defRPr sz="1600">
                <a:latin typeface="+mn-lt"/>
              </a:defRPr>
            </a:lvl1pPr>
            <a:lvl2pPr marL="0" indent="0">
              <a:buNone/>
              <a:defRPr/>
            </a:lvl2pPr>
          </a:lstStyle>
          <a:p>
            <a:pPr lvl="0"/>
            <a:r>
              <a:rPr lang="en-GB"/>
              <a:t>Click to edit Master text styles</a:t>
            </a:r>
          </a:p>
        </p:txBody>
      </p:sp>
      <p:sp>
        <p:nvSpPr>
          <p:cNvPr id="14" name="Text Placeholder 8">
            <a:extLst>
              <a:ext uri="{FF2B5EF4-FFF2-40B4-BE49-F238E27FC236}">
                <a16:creationId xmlns:a16="http://schemas.microsoft.com/office/drawing/2014/main" id="{4C6C3727-B555-98D1-470A-CC881B8EDAB7}"/>
              </a:ext>
            </a:extLst>
          </p:cNvPr>
          <p:cNvSpPr>
            <a:spLocks noGrp="1"/>
          </p:cNvSpPr>
          <p:nvPr>
            <p:ph type="body" sz="quarter" idx="17"/>
          </p:nvPr>
        </p:nvSpPr>
        <p:spPr>
          <a:xfrm>
            <a:off x="4340225" y="4359295"/>
            <a:ext cx="7315200" cy="386220"/>
          </a:xfrm>
        </p:spPr>
        <p:txBody>
          <a:bodyPr anchor="ctr">
            <a:noAutofit/>
          </a:bodyPr>
          <a:lstStyle>
            <a:lvl1pPr>
              <a:defRPr sz="1600">
                <a:latin typeface="+mn-lt"/>
              </a:defRPr>
            </a:lvl1pPr>
            <a:lvl2pPr marL="0" indent="0">
              <a:buNone/>
              <a:defRPr/>
            </a:lvl2pPr>
          </a:lstStyle>
          <a:p>
            <a:pPr lvl="0"/>
            <a:r>
              <a:rPr lang="en-GB"/>
              <a:t>Click to edit Master text styles</a:t>
            </a:r>
          </a:p>
        </p:txBody>
      </p:sp>
      <p:sp>
        <p:nvSpPr>
          <p:cNvPr id="15" name="Text Placeholder 8">
            <a:extLst>
              <a:ext uri="{FF2B5EF4-FFF2-40B4-BE49-F238E27FC236}">
                <a16:creationId xmlns:a16="http://schemas.microsoft.com/office/drawing/2014/main" id="{18E07DCF-3394-14BB-DFEE-8E37E5F69C61}"/>
              </a:ext>
            </a:extLst>
          </p:cNvPr>
          <p:cNvSpPr>
            <a:spLocks noGrp="1"/>
          </p:cNvSpPr>
          <p:nvPr>
            <p:ph type="body" sz="quarter" idx="18"/>
          </p:nvPr>
        </p:nvSpPr>
        <p:spPr>
          <a:xfrm>
            <a:off x="4340225" y="5084505"/>
            <a:ext cx="7315200" cy="386220"/>
          </a:xfrm>
        </p:spPr>
        <p:txBody>
          <a:bodyPr anchor="ctr">
            <a:noAutofit/>
          </a:bodyPr>
          <a:lstStyle>
            <a:lvl1pPr>
              <a:defRPr sz="1600">
                <a:latin typeface="+mn-lt"/>
              </a:defRPr>
            </a:lvl1pPr>
            <a:lvl2pPr marL="0" indent="0">
              <a:buNone/>
              <a:defRPr/>
            </a:lvl2pPr>
          </a:lstStyle>
          <a:p>
            <a:pPr lvl="0"/>
            <a:r>
              <a:rPr lang="en-GB"/>
              <a:t>Click to edit Master text styles</a:t>
            </a:r>
          </a:p>
        </p:txBody>
      </p:sp>
      <p:cxnSp>
        <p:nvCxnSpPr>
          <p:cNvPr id="22" name="Gerader Verbinder 15">
            <a:extLst>
              <a:ext uri="{FF2B5EF4-FFF2-40B4-BE49-F238E27FC236}">
                <a16:creationId xmlns:a16="http://schemas.microsoft.com/office/drawing/2014/main" id="{0C5C8EC5-0889-3AAD-FBF3-D4586AD5B5DC}"/>
              </a:ext>
            </a:extLst>
          </p:cNvPr>
          <p:cNvCxnSpPr>
            <a:cxnSpLocks/>
          </p:cNvCxnSpPr>
          <p:nvPr userDrawn="1"/>
        </p:nvCxnSpPr>
        <p:spPr>
          <a:xfrm>
            <a:off x="4340225" y="2014170"/>
            <a:ext cx="73152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15">
            <a:extLst>
              <a:ext uri="{FF2B5EF4-FFF2-40B4-BE49-F238E27FC236}">
                <a16:creationId xmlns:a16="http://schemas.microsoft.com/office/drawing/2014/main" id="{D13D751A-3188-8DA3-75A8-DEC714E05452}"/>
              </a:ext>
            </a:extLst>
          </p:cNvPr>
          <p:cNvCxnSpPr>
            <a:cxnSpLocks/>
          </p:cNvCxnSpPr>
          <p:nvPr userDrawn="1"/>
        </p:nvCxnSpPr>
        <p:spPr>
          <a:xfrm>
            <a:off x="4340225" y="2739380"/>
            <a:ext cx="73152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r Verbinder 15">
            <a:extLst>
              <a:ext uri="{FF2B5EF4-FFF2-40B4-BE49-F238E27FC236}">
                <a16:creationId xmlns:a16="http://schemas.microsoft.com/office/drawing/2014/main" id="{499C5000-4CCC-8EF0-E4EB-1CDFC1976B76}"/>
              </a:ext>
            </a:extLst>
          </p:cNvPr>
          <p:cNvCxnSpPr>
            <a:cxnSpLocks/>
          </p:cNvCxnSpPr>
          <p:nvPr userDrawn="1"/>
        </p:nvCxnSpPr>
        <p:spPr>
          <a:xfrm>
            <a:off x="4340225" y="3464590"/>
            <a:ext cx="73152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r Verbinder 15">
            <a:extLst>
              <a:ext uri="{FF2B5EF4-FFF2-40B4-BE49-F238E27FC236}">
                <a16:creationId xmlns:a16="http://schemas.microsoft.com/office/drawing/2014/main" id="{91A0484C-CE7E-5718-67B2-556F641DAFCF}"/>
              </a:ext>
            </a:extLst>
          </p:cNvPr>
          <p:cNvCxnSpPr>
            <a:cxnSpLocks/>
          </p:cNvCxnSpPr>
          <p:nvPr userDrawn="1"/>
        </p:nvCxnSpPr>
        <p:spPr>
          <a:xfrm>
            <a:off x="4340225" y="4189800"/>
            <a:ext cx="73152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15">
            <a:extLst>
              <a:ext uri="{FF2B5EF4-FFF2-40B4-BE49-F238E27FC236}">
                <a16:creationId xmlns:a16="http://schemas.microsoft.com/office/drawing/2014/main" id="{97BEDB39-401D-546E-1BFB-C381D91B7D8E}"/>
              </a:ext>
            </a:extLst>
          </p:cNvPr>
          <p:cNvCxnSpPr>
            <a:cxnSpLocks/>
          </p:cNvCxnSpPr>
          <p:nvPr userDrawn="1"/>
        </p:nvCxnSpPr>
        <p:spPr>
          <a:xfrm>
            <a:off x="4340225" y="4915010"/>
            <a:ext cx="73152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30" name="Grafik 9">
            <a:extLst>
              <a:ext uri="{FF2B5EF4-FFF2-40B4-BE49-F238E27FC236}">
                <a16:creationId xmlns:a16="http://schemas.microsoft.com/office/drawing/2014/main" id="{C85A0F85-528D-42AE-E0A1-D30F795856D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sp>
        <p:nvSpPr>
          <p:cNvPr id="8" name="Text Placeholder 8">
            <a:extLst>
              <a:ext uri="{FF2B5EF4-FFF2-40B4-BE49-F238E27FC236}">
                <a16:creationId xmlns:a16="http://schemas.microsoft.com/office/drawing/2014/main" id="{AF9EC7A1-BEE5-4C31-81AB-66BAF78AB41D}"/>
              </a:ext>
            </a:extLst>
          </p:cNvPr>
          <p:cNvSpPr>
            <a:spLocks noGrp="1"/>
          </p:cNvSpPr>
          <p:nvPr>
            <p:ph type="body" sz="quarter" idx="19"/>
          </p:nvPr>
        </p:nvSpPr>
        <p:spPr>
          <a:xfrm>
            <a:off x="4340225" y="5809710"/>
            <a:ext cx="7315200" cy="386220"/>
          </a:xfrm>
        </p:spPr>
        <p:txBody>
          <a:bodyPr anchor="ctr">
            <a:noAutofit/>
          </a:bodyPr>
          <a:lstStyle>
            <a:lvl1pPr>
              <a:defRPr sz="1600">
                <a:latin typeface="+mn-lt"/>
              </a:defRPr>
            </a:lvl1pPr>
            <a:lvl2pPr marL="0" indent="0">
              <a:buNone/>
              <a:defRPr/>
            </a:lvl2pPr>
          </a:lstStyle>
          <a:p>
            <a:pPr lvl="0"/>
            <a:r>
              <a:rPr lang="en-GB"/>
              <a:t>Click to edit Master text styles</a:t>
            </a:r>
          </a:p>
        </p:txBody>
      </p:sp>
      <p:cxnSp>
        <p:nvCxnSpPr>
          <p:cNvPr id="10" name="Gerader Verbinder 15">
            <a:extLst>
              <a:ext uri="{FF2B5EF4-FFF2-40B4-BE49-F238E27FC236}">
                <a16:creationId xmlns:a16="http://schemas.microsoft.com/office/drawing/2014/main" id="{4C0DF2A1-3BB8-EBF2-3958-B2918CBE2D62}"/>
              </a:ext>
            </a:extLst>
          </p:cNvPr>
          <p:cNvCxnSpPr>
            <a:cxnSpLocks/>
          </p:cNvCxnSpPr>
          <p:nvPr userDrawn="1"/>
        </p:nvCxnSpPr>
        <p:spPr>
          <a:xfrm>
            <a:off x="4340225" y="5640220"/>
            <a:ext cx="73152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Footer Placeholder 15">
            <a:extLst>
              <a:ext uri="{FF2B5EF4-FFF2-40B4-BE49-F238E27FC236}">
                <a16:creationId xmlns:a16="http://schemas.microsoft.com/office/drawing/2014/main" id="{F5AB70C6-1341-928A-3780-328DFE31CDED}"/>
              </a:ext>
            </a:extLst>
          </p:cNvPr>
          <p:cNvSpPr>
            <a:spLocks noGrp="1"/>
          </p:cNvSpPr>
          <p:nvPr>
            <p:ph type="ftr" sz="quarter" idx="20"/>
          </p:nvPr>
        </p:nvSpPr>
        <p:spPr/>
        <p:txBody>
          <a:bodyPr/>
          <a:lstStyle/>
          <a:p>
            <a:r>
              <a:rPr lang="en-GB"/>
              <a:t>byte – Bayerische Agentur für Digitales</a:t>
            </a:r>
          </a:p>
        </p:txBody>
      </p:sp>
      <p:sp>
        <p:nvSpPr>
          <p:cNvPr id="17" name="Slide Number Placeholder 16">
            <a:extLst>
              <a:ext uri="{FF2B5EF4-FFF2-40B4-BE49-F238E27FC236}">
                <a16:creationId xmlns:a16="http://schemas.microsoft.com/office/drawing/2014/main" id="{CE2B41AE-EFDA-0654-D910-00A83D473589}"/>
              </a:ext>
            </a:extLst>
          </p:cNvPr>
          <p:cNvSpPr>
            <a:spLocks noGrp="1"/>
          </p:cNvSpPr>
          <p:nvPr>
            <p:ph type="sldNum" sz="quarter" idx="21"/>
          </p:nvPr>
        </p:nvSpPr>
        <p:spPr/>
        <p:txBody>
          <a:bodyPr/>
          <a:lstStyle/>
          <a:p>
            <a:fld id="{0016BBAD-09BD-6243-A9CA-D1F4B193196B}" type="slidenum">
              <a:rPr lang="en-GB" smtClean="0"/>
              <a:pPr/>
              <a:t>‹Nr.›</a:t>
            </a:fld>
            <a:endParaRPr lang="en-GB"/>
          </a:p>
        </p:txBody>
      </p:sp>
      <p:sp>
        <p:nvSpPr>
          <p:cNvPr id="2" name="TextBox 1">
            <a:extLst>
              <a:ext uri="{FF2B5EF4-FFF2-40B4-BE49-F238E27FC236}">
                <a16:creationId xmlns:a16="http://schemas.microsoft.com/office/drawing/2014/main" id="{8CA486BD-28DE-5177-4F9D-BC5313214386}"/>
              </a:ext>
            </a:extLst>
          </p:cNvPr>
          <p:cNvSpPr txBox="1"/>
          <p:nvPr userDrawn="1"/>
        </p:nvSpPr>
        <p:spPr>
          <a:xfrm>
            <a:off x="536575" y="1330821"/>
            <a:ext cx="2318030" cy="677108"/>
          </a:xfrm>
          <a:prstGeom prst="rect">
            <a:avLst/>
          </a:prstGeom>
          <a:noFill/>
        </p:spPr>
        <p:txBody>
          <a:bodyPr wrap="square" lIns="0" tIns="0" rIns="0" bIns="0" rtlCol="0">
            <a:spAutoFit/>
          </a:bodyPr>
          <a:lstStyle/>
          <a:p>
            <a:pPr algn="l"/>
            <a:r>
              <a:rPr lang="en-GB" sz="4400" u="none" baseline="0">
                <a:solidFill>
                  <a:schemeClr val="bg1"/>
                </a:solidFill>
                <a:uFill>
                  <a:solidFill>
                    <a:schemeClr val="accent2"/>
                  </a:solidFill>
                </a:uFill>
                <a:latin typeface="+mj-lt"/>
              </a:rPr>
              <a:t>Agenda.</a:t>
            </a:r>
            <a:endParaRPr lang="en-GB" sz="4400" u="none">
              <a:solidFill>
                <a:schemeClr val="bg1"/>
              </a:solidFill>
              <a:latin typeface="+mj-lt"/>
            </a:endParaRPr>
          </a:p>
        </p:txBody>
      </p:sp>
      <p:cxnSp>
        <p:nvCxnSpPr>
          <p:cNvPr id="5" name="Gerader Verbinder 15">
            <a:extLst>
              <a:ext uri="{FF2B5EF4-FFF2-40B4-BE49-F238E27FC236}">
                <a16:creationId xmlns:a16="http://schemas.microsoft.com/office/drawing/2014/main" id="{4DCABEE8-6FE3-819D-9DB2-E44E74C8664D}"/>
              </a:ext>
            </a:extLst>
          </p:cNvPr>
          <p:cNvCxnSpPr>
            <a:cxnSpLocks/>
          </p:cNvCxnSpPr>
          <p:nvPr userDrawn="1"/>
        </p:nvCxnSpPr>
        <p:spPr>
          <a:xfrm>
            <a:off x="536575" y="1935178"/>
            <a:ext cx="42562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 name="Gerader Verbinder 15">
            <a:extLst>
              <a:ext uri="{FF2B5EF4-FFF2-40B4-BE49-F238E27FC236}">
                <a16:creationId xmlns:a16="http://schemas.microsoft.com/office/drawing/2014/main" id="{853A5451-77E1-9C5F-155D-3D1220C104C6}"/>
              </a:ext>
            </a:extLst>
          </p:cNvPr>
          <p:cNvCxnSpPr>
            <a:cxnSpLocks/>
          </p:cNvCxnSpPr>
          <p:nvPr userDrawn="1"/>
        </p:nvCxnSpPr>
        <p:spPr>
          <a:xfrm>
            <a:off x="1257766" y="1935178"/>
            <a:ext cx="152754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3758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_3">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2641880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hteck 2">
            <a:extLst>
              <a:ext uri="{FF2B5EF4-FFF2-40B4-BE49-F238E27FC236}">
                <a16:creationId xmlns:a16="http://schemas.microsoft.com/office/drawing/2014/main" id="{EF620890-77E7-42FC-C8A4-A9FDB43E8FDE}"/>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9" name="Text Placeholder 8">
            <a:extLst>
              <a:ext uri="{FF2B5EF4-FFF2-40B4-BE49-F238E27FC236}">
                <a16:creationId xmlns:a16="http://schemas.microsoft.com/office/drawing/2014/main" id="{005EAE71-EEA7-1C45-1280-67678CC40621}"/>
              </a:ext>
            </a:extLst>
          </p:cNvPr>
          <p:cNvSpPr>
            <a:spLocks noGrp="1"/>
          </p:cNvSpPr>
          <p:nvPr>
            <p:ph type="body" sz="quarter" idx="13"/>
          </p:nvPr>
        </p:nvSpPr>
        <p:spPr>
          <a:xfrm>
            <a:off x="4340225" y="1458455"/>
            <a:ext cx="7315200" cy="386220"/>
          </a:xfrm>
        </p:spPr>
        <p:txBody>
          <a:bodyPr anchor="ctr">
            <a:noAutofit/>
          </a:bodyPr>
          <a:lstStyle>
            <a:lvl1pPr>
              <a:defRPr sz="1600">
                <a:solidFill>
                  <a:schemeClr val="bg1"/>
                </a:solidFill>
                <a:latin typeface="+mj-lt"/>
              </a:defRPr>
            </a:lvl1pPr>
            <a:lvl2pPr marL="0" indent="0">
              <a:buNone/>
              <a:defRPr/>
            </a:lvl2pPr>
          </a:lstStyle>
          <a:p>
            <a:pPr lvl="0"/>
            <a:r>
              <a:rPr lang="en-GB"/>
              <a:t>Click to edit Master text styles</a:t>
            </a:r>
          </a:p>
        </p:txBody>
      </p:sp>
      <p:sp>
        <p:nvSpPr>
          <p:cNvPr id="11" name="Text Placeholder 8">
            <a:extLst>
              <a:ext uri="{FF2B5EF4-FFF2-40B4-BE49-F238E27FC236}">
                <a16:creationId xmlns:a16="http://schemas.microsoft.com/office/drawing/2014/main" id="{0DB601DD-D9B7-4CED-D1CD-FFDA2D7E28D0}"/>
              </a:ext>
            </a:extLst>
          </p:cNvPr>
          <p:cNvSpPr>
            <a:spLocks noGrp="1"/>
          </p:cNvSpPr>
          <p:nvPr>
            <p:ph type="body" sz="quarter" idx="14"/>
          </p:nvPr>
        </p:nvSpPr>
        <p:spPr>
          <a:xfrm>
            <a:off x="4340225" y="2182961"/>
            <a:ext cx="7315200" cy="386220"/>
          </a:xfrm>
        </p:spPr>
        <p:txBody>
          <a:bodyPr anchor="ctr">
            <a:noAutofit/>
          </a:bodyPr>
          <a:lstStyle>
            <a:lvl1pPr>
              <a:defRPr sz="1600">
                <a:solidFill>
                  <a:schemeClr val="bg1"/>
                </a:solidFill>
                <a:latin typeface="+mn-lt"/>
              </a:defRPr>
            </a:lvl1pPr>
            <a:lvl2pPr marL="0" indent="0">
              <a:buNone/>
              <a:defRPr/>
            </a:lvl2pPr>
          </a:lstStyle>
          <a:p>
            <a:pPr lvl="0"/>
            <a:r>
              <a:rPr lang="en-GB"/>
              <a:t>Click to edit Master text styles</a:t>
            </a:r>
          </a:p>
        </p:txBody>
      </p:sp>
      <p:sp>
        <p:nvSpPr>
          <p:cNvPr id="12" name="Text Placeholder 8">
            <a:extLst>
              <a:ext uri="{FF2B5EF4-FFF2-40B4-BE49-F238E27FC236}">
                <a16:creationId xmlns:a16="http://schemas.microsoft.com/office/drawing/2014/main" id="{37A10FB3-C59E-ADF6-AC4B-E961C10E9DA5}"/>
              </a:ext>
            </a:extLst>
          </p:cNvPr>
          <p:cNvSpPr>
            <a:spLocks noGrp="1"/>
          </p:cNvSpPr>
          <p:nvPr>
            <p:ph type="body" sz="quarter" idx="15"/>
          </p:nvPr>
        </p:nvSpPr>
        <p:spPr>
          <a:xfrm>
            <a:off x="4340225" y="2907467"/>
            <a:ext cx="7315200" cy="386220"/>
          </a:xfrm>
        </p:spPr>
        <p:txBody>
          <a:bodyPr anchor="ctr">
            <a:noAutofit/>
          </a:bodyPr>
          <a:lstStyle>
            <a:lvl1pPr>
              <a:defRPr sz="1600">
                <a:solidFill>
                  <a:schemeClr val="bg1"/>
                </a:solidFill>
                <a:latin typeface="+mn-lt"/>
              </a:defRPr>
            </a:lvl1pPr>
            <a:lvl2pPr marL="0" indent="0">
              <a:buNone/>
              <a:defRPr/>
            </a:lvl2pPr>
          </a:lstStyle>
          <a:p>
            <a:pPr lvl="0"/>
            <a:r>
              <a:rPr lang="en-GB"/>
              <a:t>Click to edit Master text styles</a:t>
            </a:r>
          </a:p>
        </p:txBody>
      </p:sp>
      <p:sp>
        <p:nvSpPr>
          <p:cNvPr id="13" name="Text Placeholder 8">
            <a:extLst>
              <a:ext uri="{FF2B5EF4-FFF2-40B4-BE49-F238E27FC236}">
                <a16:creationId xmlns:a16="http://schemas.microsoft.com/office/drawing/2014/main" id="{FDA70439-16AC-7206-0537-C8C92C80D780}"/>
              </a:ext>
            </a:extLst>
          </p:cNvPr>
          <p:cNvSpPr>
            <a:spLocks noGrp="1"/>
          </p:cNvSpPr>
          <p:nvPr>
            <p:ph type="body" sz="quarter" idx="16"/>
          </p:nvPr>
        </p:nvSpPr>
        <p:spPr>
          <a:xfrm>
            <a:off x="4340225" y="3631973"/>
            <a:ext cx="7315200" cy="386220"/>
          </a:xfrm>
        </p:spPr>
        <p:txBody>
          <a:bodyPr anchor="ctr">
            <a:noAutofit/>
          </a:bodyPr>
          <a:lstStyle>
            <a:lvl1pPr>
              <a:defRPr sz="1600">
                <a:solidFill>
                  <a:schemeClr val="bg1"/>
                </a:solidFill>
                <a:latin typeface="+mn-lt"/>
              </a:defRPr>
            </a:lvl1pPr>
            <a:lvl2pPr marL="0" indent="0">
              <a:buNone/>
              <a:defRPr/>
            </a:lvl2pPr>
          </a:lstStyle>
          <a:p>
            <a:pPr lvl="0"/>
            <a:r>
              <a:rPr lang="en-GB"/>
              <a:t>Click to edit Master text styles</a:t>
            </a:r>
          </a:p>
        </p:txBody>
      </p:sp>
      <p:sp>
        <p:nvSpPr>
          <p:cNvPr id="14" name="Text Placeholder 8">
            <a:extLst>
              <a:ext uri="{FF2B5EF4-FFF2-40B4-BE49-F238E27FC236}">
                <a16:creationId xmlns:a16="http://schemas.microsoft.com/office/drawing/2014/main" id="{4C6C3727-B555-98D1-470A-CC881B8EDAB7}"/>
              </a:ext>
            </a:extLst>
          </p:cNvPr>
          <p:cNvSpPr>
            <a:spLocks noGrp="1"/>
          </p:cNvSpPr>
          <p:nvPr>
            <p:ph type="body" sz="quarter" idx="17"/>
          </p:nvPr>
        </p:nvSpPr>
        <p:spPr>
          <a:xfrm>
            <a:off x="4340225" y="4356479"/>
            <a:ext cx="7315200" cy="386220"/>
          </a:xfrm>
        </p:spPr>
        <p:txBody>
          <a:bodyPr anchor="ctr">
            <a:noAutofit/>
          </a:bodyPr>
          <a:lstStyle>
            <a:lvl1pPr>
              <a:defRPr sz="1600">
                <a:solidFill>
                  <a:schemeClr val="bg1"/>
                </a:solidFill>
                <a:latin typeface="+mn-lt"/>
              </a:defRPr>
            </a:lvl1pPr>
            <a:lvl2pPr marL="0" indent="0">
              <a:buNone/>
              <a:defRPr/>
            </a:lvl2pPr>
          </a:lstStyle>
          <a:p>
            <a:pPr lvl="0"/>
            <a:r>
              <a:rPr lang="en-GB"/>
              <a:t>Click to edit Master text styles</a:t>
            </a:r>
          </a:p>
        </p:txBody>
      </p:sp>
      <p:sp>
        <p:nvSpPr>
          <p:cNvPr id="15" name="Text Placeholder 8">
            <a:extLst>
              <a:ext uri="{FF2B5EF4-FFF2-40B4-BE49-F238E27FC236}">
                <a16:creationId xmlns:a16="http://schemas.microsoft.com/office/drawing/2014/main" id="{18E07DCF-3394-14BB-DFEE-8E37E5F69C61}"/>
              </a:ext>
            </a:extLst>
          </p:cNvPr>
          <p:cNvSpPr>
            <a:spLocks noGrp="1"/>
          </p:cNvSpPr>
          <p:nvPr>
            <p:ph type="body" sz="quarter" idx="18"/>
          </p:nvPr>
        </p:nvSpPr>
        <p:spPr>
          <a:xfrm>
            <a:off x="4340225" y="5080985"/>
            <a:ext cx="7315200" cy="386220"/>
          </a:xfrm>
        </p:spPr>
        <p:txBody>
          <a:bodyPr anchor="ctr">
            <a:noAutofit/>
          </a:bodyPr>
          <a:lstStyle>
            <a:lvl1pPr>
              <a:defRPr sz="1600">
                <a:solidFill>
                  <a:schemeClr val="bg1"/>
                </a:solidFill>
                <a:latin typeface="+mn-lt"/>
              </a:defRPr>
            </a:lvl1pPr>
            <a:lvl2pPr marL="0" indent="0">
              <a:buNone/>
              <a:defRPr/>
            </a:lvl2pPr>
          </a:lstStyle>
          <a:p>
            <a:pPr lvl="0"/>
            <a:r>
              <a:rPr lang="en-GB"/>
              <a:t>Click to edit Master text styles</a:t>
            </a:r>
          </a:p>
        </p:txBody>
      </p:sp>
      <p:cxnSp>
        <p:nvCxnSpPr>
          <p:cNvPr id="22" name="Gerader Verbinder 15">
            <a:extLst>
              <a:ext uri="{FF2B5EF4-FFF2-40B4-BE49-F238E27FC236}">
                <a16:creationId xmlns:a16="http://schemas.microsoft.com/office/drawing/2014/main" id="{0C5C8EC5-0889-3AAD-FBF3-D4586AD5B5DC}"/>
              </a:ext>
            </a:extLst>
          </p:cNvPr>
          <p:cNvCxnSpPr>
            <a:cxnSpLocks/>
          </p:cNvCxnSpPr>
          <p:nvPr userDrawn="1"/>
        </p:nvCxnSpPr>
        <p:spPr>
          <a:xfrm>
            <a:off x="4340225" y="2013818"/>
            <a:ext cx="73152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r Verbinder 15">
            <a:extLst>
              <a:ext uri="{FF2B5EF4-FFF2-40B4-BE49-F238E27FC236}">
                <a16:creationId xmlns:a16="http://schemas.microsoft.com/office/drawing/2014/main" id="{D13D751A-3188-8DA3-75A8-DEC714E05452}"/>
              </a:ext>
            </a:extLst>
          </p:cNvPr>
          <p:cNvCxnSpPr>
            <a:cxnSpLocks/>
          </p:cNvCxnSpPr>
          <p:nvPr userDrawn="1"/>
        </p:nvCxnSpPr>
        <p:spPr>
          <a:xfrm>
            <a:off x="4340225" y="2738324"/>
            <a:ext cx="73152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Gerader Verbinder 15">
            <a:extLst>
              <a:ext uri="{FF2B5EF4-FFF2-40B4-BE49-F238E27FC236}">
                <a16:creationId xmlns:a16="http://schemas.microsoft.com/office/drawing/2014/main" id="{499C5000-4CCC-8EF0-E4EB-1CDFC1976B76}"/>
              </a:ext>
            </a:extLst>
          </p:cNvPr>
          <p:cNvCxnSpPr>
            <a:cxnSpLocks/>
          </p:cNvCxnSpPr>
          <p:nvPr userDrawn="1"/>
        </p:nvCxnSpPr>
        <p:spPr>
          <a:xfrm>
            <a:off x="4340225" y="3462830"/>
            <a:ext cx="73152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Gerader Verbinder 15">
            <a:extLst>
              <a:ext uri="{FF2B5EF4-FFF2-40B4-BE49-F238E27FC236}">
                <a16:creationId xmlns:a16="http://schemas.microsoft.com/office/drawing/2014/main" id="{91A0484C-CE7E-5718-67B2-556F641DAFCF}"/>
              </a:ext>
            </a:extLst>
          </p:cNvPr>
          <p:cNvCxnSpPr>
            <a:cxnSpLocks/>
          </p:cNvCxnSpPr>
          <p:nvPr userDrawn="1"/>
        </p:nvCxnSpPr>
        <p:spPr>
          <a:xfrm>
            <a:off x="4340225" y="4187336"/>
            <a:ext cx="73152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15">
            <a:extLst>
              <a:ext uri="{FF2B5EF4-FFF2-40B4-BE49-F238E27FC236}">
                <a16:creationId xmlns:a16="http://schemas.microsoft.com/office/drawing/2014/main" id="{97BEDB39-401D-546E-1BFB-C381D91B7D8E}"/>
              </a:ext>
            </a:extLst>
          </p:cNvPr>
          <p:cNvCxnSpPr>
            <a:cxnSpLocks/>
          </p:cNvCxnSpPr>
          <p:nvPr userDrawn="1"/>
        </p:nvCxnSpPr>
        <p:spPr>
          <a:xfrm>
            <a:off x="4340225" y="4911842"/>
            <a:ext cx="73152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30" name="Grafik 9">
            <a:extLst>
              <a:ext uri="{FF2B5EF4-FFF2-40B4-BE49-F238E27FC236}">
                <a16:creationId xmlns:a16="http://schemas.microsoft.com/office/drawing/2014/main" id="{C85A0F85-528D-42AE-E0A1-D30F795856D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sp>
        <p:nvSpPr>
          <p:cNvPr id="8" name="Text Placeholder 8">
            <a:extLst>
              <a:ext uri="{FF2B5EF4-FFF2-40B4-BE49-F238E27FC236}">
                <a16:creationId xmlns:a16="http://schemas.microsoft.com/office/drawing/2014/main" id="{AF9EC7A1-BEE5-4C31-81AB-66BAF78AB41D}"/>
              </a:ext>
            </a:extLst>
          </p:cNvPr>
          <p:cNvSpPr>
            <a:spLocks noGrp="1"/>
          </p:cNvSpPr>
          <p:nvPr>
            <p:ph type="body" sz="quarter" idx="19"/>
          </p:nvPr>
        </p:nvSpPr>
        <p:spPr>
          <a:xfrm>
            <a:off x="4340225" y="5805488"/>
            <a:ext cx="7315200" cy="386220"/>
          </a:xfrm>
        </p:spPr>
        <p:txBody>
          <a:bodyPr anchor="ctr">
            <a:noAutofit/>
          </a:bodyPr>
          <a:lstStyle>
            <a:lvl1pPr>
              <a:defRPr sz="1600">
                <a:solidFill>
                  <a:schemeClr val="bg1"/>
                </a:solidFill>
                <a:latin typeface="+mn-lt"/>
              </a:defRPr>
            </a:lvl1pPr>
            <a:lvl2pPr marL="0" indent="0">
              <a:buNone/>
              <a:defRPr/>
            </a:lvl2pPr>
          </a:lstStyle>
          <a:p>
            <a:pPr lvl="0"/>
            <a:r>
              <a:rPr lang="en-GB"/>
              <a:t>Click to edit Master text styles</a:t>
            </a:r>
          </a:p>
        </p:txBody>
      </p:sp>
      <p:cxnSp>
        <p:nvCxnSpPr>
          <p:cNvPr id="10" name="Gerader Verbinder 15">
            <a:extLst>
              <a:ext uri="{FF2B5EF4-FFF2-40B4-BE49-F238E27FC236}">
                <a16:creationId xmlns:a16="http://schemas.microsoft.com/office/drawing/2014/main" id="{4C0DF2A1-3BB8-EBF2-3958-B2918CBE2D62}"/>
              </a:ext>
            </a:extLst>
          </p:cNvPr>
          <p:cNvCxnSpPr>
            <a:cxnSpLocks/>
          </p:cNvCxnSpPr>
          <p:nvPr userDrawn="1"/>
        </p:nvCxnSpPr>
        <p:spPr>
          <a:xfrm>
            <a:off x="4340225" y="5636348"/>
            <a:ext cx="73152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5C63DC8A-3839-06C6-414F-0DFEF3C512BD}"/>
              </a:ext>
            </a:extLst>
          </p:cNvPr>
          <p:cNvSpPr>
            <a:spLocks noGrp="1"/>
          </p:cNvSpPr>
          <p:nvPr>
            <p:ph type="ftr" sz="quarter" idx="20"/>
          </p:nvPr>
        </p:nvSpPr>
        <p:spPr/>
        <p:txBody>
          <a:bodyPr/>
          <a:lstStyle>
            <a:lvl1pPr>
              <a:defRPr>
                <a:solidFill>
                  <a:schemeClr val="bg1"/>
                </a:solidFill>
              </a:defRPr>
            </a:lvl1pPr>
          </a:lstStyle>
          <a:p>
            <a:r>
              <a:rPr lang="en-GB"/>
              <a:t>byte – Bayerische Agentur für Digitales</a:t>
            </a:r>
          </a:p>
        </p:txBody>
      </p:sp>
      <p:sp>
        <p:nvSpPr>
          <p:cNvPr id="16" name="Slide Number Placeholder 15">
            <a:extLst>
              <a:ext uri="{FF2B5EF4-FFF2-40B4-BE49-F238E27FC236}">
                <a16:creationId xmlns:a16="http://schemas.microsoft.com/office/drawing/2014/main" id="{4DF3A0A0-BC1E-694A-551B-56E26566D15F}"/>
              </a:ext>
            </a:extLst>
          </p:cNvPr>
          <p:cNvSpPr>
            <a:spLocks noGrp="1"/>
          </p:cNvSpPr>
          <p:nvPr>
            <p:ph type="sldNum" sz="quarter" idx="21"/>
          </p:nvPr>
        </p:nvSpPr>
        <p:spPr/>
        <p:txBody>
          <a:bodyPr/>
          <a:lstStyle>
            <a:lvl1pPr>
              <a:defRPr>
                <a:solidFill>
                  <a:schemeClr val="bg1"/>
                </a:solidFill>
              </a:defRPr>
            </a:lvl1pPr>
          </a:lstStyle>
          <a:p>
            <a:fld id="{0016BBAD-09BD-6243-A9CA-D1F4B193196B}" type="slidenum">
              <a:rPr lang="en-GB" smtClean="0"/>
              <a:pPr/>
              <a:t>‹Nr.›</a:t>
            </a:fld>
            <a:endParaRPr lang="en-GB"/>
          </a:p>
        </p:txBody>
      </p:sp>
      <p:sp>
        <p:nvSpPr>
          <p:cNvPr id="2" name="TextBox 1">
            <a:extLst>
              <a:ext uri="{FF2B5EF4-FFF2-40B4-BE49-F238E27FC236}">
                <a16:creationId xmlns:a16="http://schemas.microsoft.com/office/drawing/2014/main" id="{3FC7F601-68CA-8CF2-6DA8-4080627822E6}"/>
              </a:ext>
            </a:extLst>
          </p:cNvPr>
          <p:cNvSpPr txBox="1"/>
          <p:nvPr userDrawn="1"/>
        </p:nvSpPr>
        <p:spPr>
          <a:xfrm>
            <a:off x="536575" y="1330821"/>
            <a:ext cx="2318030" cy="677108"/>
          </a:xfrm>
          <a:prstGeom prst="rect">
            <a:avLst/>
          </a:prstGeom>
          <a:noFill/>
        </p:spPr>
        <p:txBody>
          <a:bodyPr wrap="square" lIns="0" tIns="0" rIns="0" bIns="0" rtlCol="0">
            <a:spAutoFit/>
          </a:bodyPr>
          <a:lstStyle/>
          <a:p>
            <a:pPr algn="l"/>
            <a:r>
              <a:rPr lang="en-GB" sz="4400" u="none" baseline="0">
                <a:solidFill>
                  <a:schemeClr val="bg1"/>
                </a:solidFill>
                <a:uFill>
                  <a:solidFill>
                    <a:schemeClr val="accent2"/>
                  </a:solidFill>
                </a:uFill>
                <a:latin typeface="+mj-lt"/>
              </a:rPr>
              <a:t>Agenda.</a:t>
            </a:r>
            <a:endParaRPr lang="en-GB" sz="4400" u="none">
              <a:solidFill>
                <a:schemeClr val="bg1"/>
              </a:solidFill>
              <a:latin typeface="+mj-lt"/>
            </a:endParaRPr>
          </a:p>
        </p:txBody>
      </p:sp>
      <p:cxnSp>
        <p:nvCxnSpPr>
          <p:cNvPr id="5" name="Gerader Verbinder 15">
            <a:extLst>
              <a:ext uri="{FF2B5EF4-FFF2-40B4-BE49-F238E27FC236}">
                <a16:creationId xmlns:a16="http://schemas.microsoft.com/office/drawing/2014/main" id="{725EE746-E89F-6CB2-8495-AF340A075B0F}"/>
              </a:ext>
            </a:extLst>
          </p:cNvPr>
          <p:cNvCxnSpPr>
            <a:cxnSpLocks/>
          </p:cNvCxnSpPr>
          <p:nvPr userDrawn="1"/>
        </p:nvCxnSpPr>
        <p:spPr>
          <a:xfrm>
            <a:off x="536575" y="1935178"/>
            <a:ext cx="42562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r Verbinder 15">
            <a:extLst>
              <a:ext uri="{FF2B5EF4-FFF2-40B4-BE49-F238E27FC236}">
                <a16:creationId xmlns:a16="http://schemas.microsoft.com/office/drawing/2014/main" id="{284B3A24-57D3-DE4B-0BF0-6FFD8B6CAC3A}"/>
              </a:ext>
            </a:extLst>
          </p:cNvPr>
          <p:cNvCxnSpPr>
            <a:cxnSpLocks/>
          </p:cNvCxnSpPr>
          <p:nvPr userDrawn="1"/>
        </p:nvCxnSpPr>
        <p:spPr>
          <a:xfrm>
            <a:off x="1257766" y="1935178"/>
            <a:ext cx="152754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30634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trenner_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1174661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Rechteck 2">
            <a:extLst>
              <a:ext uri="{FF2B5EF4-FFF2-40B4-BE49-F238E27FC236}">
                <a16:creationId xmlns:a16="http://schemas.microsoft.com/office/drawing/2014/main" id="{64CBE62B-602A-F6D5-664F-1B0CEFE7F275}"/>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2636837"/>
            <a:ext cx="6654800" cy="2376487"/>
          </a:xfrm>
        </p:spPr>
        <p:txBody>
          <a:bodyPr vert="horz" anchor="b"/>
          <a:lstStyle>
            <a:lvl1pPr>
              <a:defRPr sz="3200">
                <a:solidFill>
                  <a:schemeClr val="bg1"/>
                </a:solidFill>
              </a:defRPr>
            </a:lvl1pPr>
          </a:lstStyle>
          <a:p>
            <a:r>
              <a:rPr lang="en-GB" err="1"/>
              <a:t>Abschnittstrenner</a:t>
            </a:r>
            <a:r>
              <a:rPr lang="en-GB"/>
              <a:t> – </a:t>
            </a:r>
            <a:r>
              <a:rPr lang="en-GB" err="1"/>
              <a:t>Klicke</a:t>
            </a:r>
            <a:r>
              <a:rPr lang="en-GB"/>
              <a:t> </a:t>
            </a:r>
            <a:r>
              <a:rPr lang="en-GB" err="1"/>
              <a:t>hier</a:t>
            </a:r>
            <a:r>
              <a:rPr lang="en-GB"/>
              <a:t> um </a:t>
            </a:r>
            <a:r>
              <a:rPr lang="en-GB" err="1"/>
              <a:t>einen</a:t>
            </a:r>
            <a:r>
              <a:rPr lang="en-GB"/>
              <a:t> </a:t>
            </a:r>
            <a:r>
              <a:rPr lang="en-GB" err="1"/>
              <a:t>Agendapunkt</a:t>
            </a:r>
            <a:r>
              <a:rPr lang="en-GB"/>
              <a:t> </a:t>
            </a:r>
            <a:r>
              <a:rPr lang="en-GB" err="1"/>
              <a:t>einzufügen</a:t>
            </a:r>
            <a:endParaRPr lang="de-DE"/>
          </a:p>
        </p:txBody>
      </p:sp>
      <p:pic>
        <p:nvPicPr>
          <p:cNvPr id="15" name="Grafik 5">
            <a:extLst>
              <a:ext uri="{FF2B5EF4-FFF2-40B4-BE49-F238E27FC236}">
                <a16:creationId xmlns:a16="http://schemas.microsoft.com/office/drawing/2014/main" id="{DA01EDBF-E4BD-287A-A6C7-2982ABA56D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637385" y="1257190"/>
            <a:ext cx="4340106" cy="4518982"/>
          </a:xfrm>
          <a:prstGeom prst="rect">
            <a:avLst/>
          </a:prstGeom>
        </p:spPr>
      </p:pic>
      <p:sp>
        <p:nvSpPr>
          <p:cNvPr id="18" name="Footer Placeholder 17">
            <a:extLst>
              <a:ext uri="{FF2B5EF4-FFF2-40B4-BE49-F238E27FC236}">
                <a16:creationId xmlns:a16="http://schemas.microsoft.com/office/drawing/2014/main" id="{4EF092A1-7108-DBF4-2766-98600DE558A4}"/>
              </a:ext>
            </a:extLst>
          </p:cNvPr>
          <p:cNvSpPr>
            <a:spLocks noGrp="1"/>
          </p:cNvSpPr>
          <p:nvPr>
            <p:ph type="ftr" sz="quarter" idx="10"/>
          </p:nvPr>
        </p:nvSpPr>
        <p:spPr/>
        <p:txBody>
          <a:bodyPr/>
          <a:lstStyle>
            <a:lvl1pPr>
              <a:defRPr>
                <a:solidFill>
                  <a:schemeClr val="bg1"/>
                </a:solidFill>
              </a:defRPr>
            </a:lvl1pPr>
          </a:lstStyle>
          <a:p>
            <a:r>
              <a:rPr lang="en-GB"/>
              <a:t>byte – Bayerische Agentur für Digitales</a:t>
            </a:r>
          </a:p>
        </p:txBody>
      </p:sp>
      <p:sp>
        <p:nvSpPr>
          <p:cNvPr id="19" name="Slide Number Placeholder 18">
            <a:extLst>
              <a:ext uri="{FF2B5EF4-FFF2-40B4-BE49-F238E27FC236}">
                <a16:creationId xmlns:a16="http://schemas.microsoft.com/office/drawing/2014/main" id="{0169AE02-1F88-CE2C-07C3-F257F41D3B4B}"/>
              </a:ext>
            </a:extLst>
          </p:cNvPr>
          <p:cNvSpPr>
            <a:spLocks noGrp="1"/>
          </p:cNvSpPr>
          <p:nvPr>
            <p:ph type="sldNum" sz="quarter" idx="11"/>
          </p:nvPr>
        </p:nvSpPr>
        <p:spPr/>
        <p:txBody>
          <a:bodyPr/>
          <a:lstStyle>
            <a:lvl1pPr>
              <a:defRPr>
                <a:solidFill>
                  <a:schemeClr val="bg1"/>
                </a:solidFill>
              </a:defRPr>
            </a:lvl1pPr>
          </a:lstStyle>
          <a:p>
            <a:fld id="{0016BBAD-09BD-6243-A9CA-D1F4B193196B}" type="slidenum">
              <a:rPr lang="en-GB" smtClean="0"/>
              <a:pPr/>
              <a:t>‹Nr.›</a:t>
            </a:fld>
            <a:endParaRPr lang="en-GB"/>
          </a:p>
        </p:txBody>
      </p:sp>
    </p:spTree>
    <p:extLst>
      <p:ext uri="{BB962C8B-B14F-4D97-AF65-F5344CB8AC3E}">
        <p14:creationId xmlns:p14="http://schemas.microsoft.com/office/powerpoint/2010/main" val="30686424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nhang_dunk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2641880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Rechteck 2">
            <a:extLst>
              <a:ext uri="{FF2B5EF4-FFF2-40B4-BE49-F238E27FC236}">
                <a16:creationId xmlns:a16="http://schemas.microsoft.com/office/drawing/2014/main" id="{EF620890-77E7-42FC-C8A4-A9FDB43E8FDE}"/>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7" name="Footer Placeholder 6">
            <a:extLst>
              <a:ext uri="{FF2B5EF4-FFF2-40B4-BE49-F238E27FC236}">
                <a16:creationId xmlns:a16="http://schemas.microsoft.com/office/drawing/2014/main" id="{5C63DC8A-3839-06C6-414F-0DFEF3C512BD}"/>
              </a:ext>
            </a:extLst>
          </p:cNvPr>
          <p:cNvSpPr>
            <a:spLocks noGrp="1"/>
          </p:cNvSpPr>
          <p:nvPr>
            <p:ph type="ftr" sz="quarter" idx="20"/>
          </p:nvPr>
        </p:nvSpPr>
        <p:spPr/>
        <p:txBody>
          <a:bodyPr/>
          <a:lstStyle>
            <a:lvl1pPr>
              <a:defRPr>
                <a:solidFill>
                  <a:schemeClr val="bg1"/>
                </a:solidFill>
              </a:defRPr>
            </a:lvl1pPr>
          </a:lstStyle>
          <a:p>
            <a:r>
              <a:rPr lang="en-GB"/>
              <a:t>byte – Bayerische Agentur für Digitales</a:t>
            </a:r>
          </a:p>
        </p:txBody>
      </p:sp>
      <p:sp>
        <p:nvSpPr>
          <p:cNvPr id="16" name="Slide Number Placeholder 15">
            <a:extLst>
              <a:ext uri="{FF2B5EF4-FFF2-40B4-BE49-F238E27FC236}">
                <a16:creationId xmlns:a16="http://schemas.microsoft.com/office/drawing/2014/main" id="{4DF3A0A0-BC1E-694A-551B-56E26566D15F}"/>
              </a:ext>
            </a:extLst>
          </p:cNvPr>
          <p:cNvSpPr>
            <a:spLocks noGrp="1"/>
          </p:cNvSpPr>
          <p:nvPr>
            <p:ph type="sldNum" sz="quarter" idx="21"/>
          </p:nvPr>
        </p:nvSpPr>
        <p:spPr/>
        <p:txBody>
          <a:bodyPr/>
          <a:lstStyle>
            <a:lvl1pPr>
              <a:defRPr>
                <a:solidFill>
                  <a:schemeClr val="bg1"/>
                </a:solidFill>
              </a:defRPr>
            </a:lvl1pPr>
          </a:lstStyle>
          <a:p>
            <a:fld id="{0016BBAD-09BD-6243-A9CA-D1F4B193196B}" type="slidenum">
              <a:rPr lang="en-GB" smtClean="0"/>
              <a:pPr/>
              <a:t>‹Nr.›</a:t>
            </a:fld>
            <a:endParaRPr lang="en-GB"/>
          </a:p>
        </p:txBody>
      </p:sp>
      <p:pic>
        <p:nvPicPr>
          <p:cNvPr id="28" name="Grafik 5">
            <a:extLst>
              <a:ext uri="{FF2B5EF4-FFF2-40B4-BE49-F238E27FC236}">
                <a16:creationId xmlns:a16="http://schemas.microsoft.com/office/drawing/2014/main" id="{FD7A6319-0CD8-1964-4D0B-74926AA7754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637385" y="1257190"/>
            <a:ext cx="4340106" cy="4518982"/>
          </a:xfrm>
          <a:prstGeom prst="rect">
            <a:avLst/>
          </a:prstGeom>
        </p:spPr>
      </p:pic>
      <p:sp>
        <p:nvSpPr>
          <p:cNvPr id="2" name="TextBox 1">
            <a:extLst>
              <a:ext uri="{FF2B5EF4-FFF2-40B4-BE49-F238E27FC236}">
                <a16:creationId xmlns:a16="http://schemas.microsoft.com/office/drawing/2014/main" id="{C03E0D44-1FF4-98DD-30A4-DE6B1CF08B00}"/>
              </a:ext>
            </a:extLst>
          </p:cNvPr>
          <p:cNvSpPr txBox="1"/>
          <p:nvPr userDrawn="1"/>
        </p:nvSpPr>
        <p:spPr>
          <a:xfrm>
            <a:off x="536575" y="1330821"/>
            <a:ext cx="2565400" cy="677108"/>
          </a:xfrm>
          <a:prstGeom prst="rect">
            <a:avLst/>
          </a:prstGeom>
          <a:noFill/>
        </p:spPr>
        <p:txBody>
          <a:bodyPr wrap="square" lIns="0" tIns="0" rIns="0" bIns="0" rtlCol="0">
            <a:spAutoFit/>
          </a:bodyPr>
          <a:lstStyle/>
          <a:p>
            <a:pPr algn="l"/>
            <a:r>
              <a:rPr lang="en-GB" sz="4400" u="none" baseline="0" err="1">
                <a:solidFill>
                  <a:schemeClr val="bg1"/>
                </a:solidFill>
                <a:uFill>
                  <a:solidFill>
                    <a:schemeClr val="accent2"/>
                  </a:solidFill>
                </a:uFill>
                <a:latin typeface="+mj-lt"/>
              </a:rPr>
              <a:t>Anhang</a:t>
            </a:r>
            <a:r>
              <a:rPr lang="en-GB" sz="4400" u="none" baseline="0">
                <a:solidFill>
                  <a:schemeClr val="bg1"/>
                </a:solidFill>
                <a:uFill>
                  <a:solidFill>
                    <a:schemeClr val="accent2"/>
                  </a:solidFill>
                </a:uFill>
                <a:latin typeface="+mj-lt"/>
              </a:rPr>
              <a:t>.</a:t>
            </a:r>
            <a:endParaRPr lang="en-GB" sz="4400" u="none">
              <a:solidFill>
                <a:schemeClr val="bg1"/>
              </a:solidFill>
              <a:latin typeface="+mj-lt"/>
            </a:endParaRPr>
          </a:p>
        </p:txBody>
      </p:sp>
      <p:cxnSp>
        <p:nvCxnSpPr>
          <p:cNvPr id="5" name="Gerader Verbinder 15">
            <a:extLst>
              <a:ext uri="{FF2B5EF4-FFF2-40B4-BE49-F238E27FC236}">
                <a16:creationId xmlns:a16="http://schemas.microsoft.com/office/drawing/2014/main" id="{A48DA2E8-2BAC-F20A-B473-2AFC04ADFC43}"/>
              </a:ext>
            </a:extLst>
          </p:cNvPr>
          <p:cNvCxnSpPr>
            <a:cxnSpLocks/>
          </p:cNvCxnSpPr>
          <p:nvPr userDrawn="1"/>
        </p:nvCxnSpPr>
        <p:spPr>
          <a:xfrm>
            <a:off x="536575" y="1935178"/>
            <a:ext cx="1788787"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Gerader Verbinder 15">
            <a:extLst>
              <a:ext uri="{FF2B5EF4-FFF2-40B4-BE49-F238E27FC236}">
                <a16:creationId xmlns:a16="http://schemas.microsoft.com/office/drawing/2014/main" id="{04669219-38E4-40AF-9164-00707CA8617D}"/>
              </a:ext>
            </a:extLst>
          </p:cNvPr>
          <p:cNvCxnSpPr>
            <a:cxnSpLocks/>
          </p:cNvCxnSpPr>
          <p:nvPr userDrawn="1"/>
        </p:nvCxnSpPr>
        <p:spPr>
          <a:xfrm>
            <a:off x="2640254" y="1935178"/>
            <a:ext cx="1695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26151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nhang_hel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28271878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032D3EC2-E887-4C79-64F0-BB3A1564F899}"/>
              </a:ext>
            </a:extLst>
          </p:cNvPr>
          <p:cNvSpPr>
            <a:spLocks noGrp="1"/>
          </p:cNvSpPr>
          <p:nvPr>
            <p:ph type="ftr" sz="quarter" idx="10"/>
          </p:nvPr>
        </p:nvSpPr>
        <p:spPr/>
        <p:txBody>
          <a:bodyPr/>
          <a:lstStyle/>
          <a:p>
            <a:r>
              <a:rPr lang="en-GB"/>
              <a:t>byte – Bayerische Agentur für Digitales</a:t>
            </a:r>
          </a:p>
        </p:txBody>
      </p:sp>
      <p:sp>
        <p:nvSpPr>
          <p:cNvPr id="5" name="Slide Number Placeholder 4">
            <a:extLst>
              <a:ext uri="{FF2B5EF4-FFF2-40B4-BE49-F238E27FC236}">
                <a16:creationId xmlns:a16="http://schemas.microsoft.com/office/drawing/2014/main" id="{8B395B9C-A1C5-E9FB-26CE-E66FACA2100D}"/>
              </a:ext>
            </a:extLst>
          </p:cNvPr>
          <p:cNvSpPr>
            <a:spLocks noGrp="1"/>
          </p:cNvSpPr>
          <p:nvPr>
            <p:ph type="sldNum" sz="quarter" idx="11"/>
          </p:nvPr>
        </p:nvSpPr>
        <p:spPr/>
        <p:txBody>
          <a:bodyPr/>
          <a:lstStyle/>
          <a:p>
            <a:fld id="{0016BBAD-09BD-6243-A9CA-D1F4B193196B}" type="slidenum">
              <a:rPr lang="en-GB" smtClean="0"/>
              <a:pPr/>
              <a:t>‹Nr.›</a:t>
            </a:fld>
            <a:endParaRPr lang="en-GB"/>
          </a:p>
        </p:txBody>
      </p:sp>
      <p:sp>
        <p:nvSpPr>
          <p:cNvPr id="4" name="TextBox 3">
            <a:extLst>
              <a:ext uri="{FF2B5EF4-FFF2-40B4-BE49-F238E27FC236}">
                <a16:creationId xmlns:a16="http://schemas.microsoft.com/office/drawing/2014/main" id="{5B704EDC-C61A-F518-28E6-38F98D3E2B8F}"/>
              </a:ext>
            </a:extLst>
          </p:cNvPr>
          <p:cNvSpPr txBox="1"/>
          <p:nvPr userDrawn="1"/>
        </p:nvSpPr>
        <p:spPr>
          <a:xfrm>
            <a:off x="536575" y="1330821"/>
            <a:ext cx="2565400" cy="677108"/>
          </a:xfrm>
          <a:prstGeom prst="rect">
            <a:avLst/>
          </a:prstGeom>
          <a:noFill/>
        </p:spPr>
        <p:txBody>
          <a:bodyPr wrap="square" lIns="0" tIns="0" rIns="0" bIns="0" rtlCol="0">
            <a:spAutoFit/>
          </a:bodyPr>
          <a:lstStyle/>
          <a:p>
            <a:pPr algn="l"/>
            <a:r>
              <a:rPr lang="en-GB" sz="4400" u="none" baseline="0" err="1">
                <a:solidFill>
                  <a:schemeClr val="tx1"/>
                </a:solidFill>
                <a:uFill>
                  <a:solidFill>
                    <a:schemeClr val="accent2"/>
                  </a:solidFill>
                </a:uFill>
                <a:latin typeface="+mj-lt"/>
              </a:rPr>
              <a:t>Anhang</a:t>
            </a:r>
            <a:r>
              <a:rPr lang="en-GB" sz="4400" u="none" baseline="0">
                <a:solidFill>
                  <a:schemeClr val="tx1"/>
                </a:solidFill>
                <a:uFill>
                  <a:solidFill>
                    <a:schemeClr val="accent2"/>
                  </a:solidFill>
                </a:uFill>
                <a:latin typeface="+mj-lt"/>
              </a:rPr>
              <a:t>.</a:t>
            </a:r>
            <a:endParaRPr lang="en-GB" sz="4400" u="none">
              <a:solidFill>
                <a:schemeClr val="tx1"/>
              </a:solidFill>
              <a:latin typeface="+mj-lt"/>
            </a:endParaRPr>
          </a:p>
        </p:txBody>
      </p:sp>
      <p:cxnSp>
        <p:nvCxnSpPr>
          <p:cNvPr id="7" name="Gerader Verbinder 15">
            <a:extLst>
              <a:ext uri="{FF2B5EF4-FFF2-40B4-BE49-F238E27FC236}">
                <a16:creationId xmlns:a16="http://schemas.microsoft.com/office/drawing/2014/main" id="{2EAF5B5D-34E9-C7D7-DC12-AF60AA17D8B1}"/>
              </a:ext>
            </a:extLst>
          </p:cNvPr>
          <p:cNvCxnSpPr>
            <a:cxnSpLocks/>
          </p:cNvCxnSpPr>
          <p:nvPr userDrawn="1"/>
        </p:nvCxnSpPr>
        <p:spPr>
          <a:xfrm>
            <a:off x="536575" y="1935178"/>
            <a:ext cx="1788787"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Gerader Verbinder 15">
            <a:extLst>
              <a:ext uri="{FF2B5EF4-FFF2-40B4-BE49-F238E27FC236}">
                <a16:creationId xmlns:a16="http://schemas.microsoft.com/office/drawing/2014/main" id="{5193BD5D-C8DD-2A9B-15BC-A08F694A0FD8}"/>
              </a:ext>
            </a:extLst>
          </p:cNvPr>
          <p:cNvCxnSpPr>
            <a:cxnSpLocks/>
          </p:cNvCxnSpPr>
          <p:nvPr userDrawn="1"/>
        </p:nvCxnSpPr>
        <p:spPr>
          <a:xfrm>
            <a:off x="2640254" y="1935178"/>
            <a:ext cx="169558"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0" name="Grafik 5">
            <a:extLst>
              <a:ext uri="{FF2B5EF4-FFF2-40B4-BE49-F238E27FC236}">
                <a16:creationId xmlns:a16="http://schemas.microsoft.com/office/drawing/2014/main" id="{2D3D6E71-7CD5-028E-5196-9BAE30B467B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637385" y="1257190"/>
            <a:ext cx="4340106" cy="4518982"/>
          </a:xfrm>
          <a:prstGeom prst="rect">
            <a:avLst/>
          </a:prstGeom>
        </p:spPr>
      </p:pic>
    </p:spTree>
    <p:extLst>
      <p:ext uri="{BB962C8B-B14F-4D97-AF65-F5344CB8AC3E}">
        <p14:creationId xmlns:p14="http://schemas.microsoft.com/office/powerpoint/2010/main" val="15191196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Zitat_dunkel">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38DB97D-F7CE-88B2-A20B-5D27E50DCF59}"/>
              </a:ext>
            </a:extLst>
          </p:cNvPr>
          <p:cNvGraphicFramePr>
            <a:graphicFrameLocks noChangeAspect="1"/>
          </p:cNvGraphicFramePr>
          <p:nvPr userDrawn="1">
            <p:custDataLst>
              <p:tags r:id="rId1"/>
            </p:custDataLst>
            <p:extLst>
              <p:ext uri="{D42A27DB-BD31-4B8C-83A1-F6EECF244321}">
                <p14:modId xmlns:p14="http://schemas.microsoft.com/office/powerpoint/2010/main" val="3824299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738DB97D-F7CE-88B2-A20B-5D27E50DCF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8A870AF8-4F01-5146-826A-83D019D02A45}"/>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hasCustomPrompt="1"/>
          </p:nvPr>
        </p:nvSpPr>
        <p:spPr>
          <a:xfrm>
            <a:off x="2149475" y="2117742"/>
            <a:ext cx="6654709" cy="2498708"/>
          </a:xfrm>
          <a:prstGeom prst="rect">
            <a:avLst/>
          </a:prstGeom>
        </p:spPr>
        <p:txBody>
          <a:bodyPr anchor="b">
            <a:noAutofit/>
          </a:bodyPr>
          <a:lstStyle>
            <a:lvl1pPr marL="0" indent="0">
              <a:lnSpc>
                <a:spcPct val="110000"/>
              </a:lnSpc>
              <a:buNone/>
              <a:defRPr sz="3200">
                <a:solidFill>
                  <a:schemeClr val="bg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r>
              <a:rPr lang="de-DE"/>
              <a:t>Zitat hinzufügen</a:t>
            </a:r>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hasCustomPrompt="1"/>
          </p:nvPr>
        </p:nvSpPr>
        <p:spPr>
          <a:xfrm>
            <a:off x="2149475" y="5013325"/>
            <a:ext cx="6654709" cy="395288"/>
          </a:xfrm>
          <a:prstGeom prst="rect">
            <a:avLst/>
          </a:prstGeom>
        </p:spPr>
        <p:txBody>
          <a:bodyPr anchor="ctr">
            <a:noAutofit/>
          </a:bodyPr>
          <a:lstStyle>
            <a:lvl1pPr marL="0" indent="0">
              <a:lnSpc>
                <a:spcPct val="110000"/>
              </a:lnSpc>
              <a:spcBef>
                <a:spcPts val="0"/>
              </a:spcBef>
              <a:buNone/>
              <a:defRPr sz="1400">
                <a:solidFill>
                  <a:schemeClr val="bg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r>
              <a:rPr lang="de-DE" sz="1400"/>
              <a:t>Quelle hinzufügen</a:t>
            </a:r>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832852" y="881867"/>
            <a:ext cx="3033054" cy="3158060"/>
          </a:xfrm>
          <a:prstGeom prst="rect">
            <a:avLst/>
          </a:prstGeom>
        </p:spPr>
      </p:pic>
      <p:grpSp>
        <p:nvGrpSpPr>
          <p:cNvPr id="12" name="Group 11">
            <a:extLst>
              <a:ext uri="{FF2B5EF4-FFF2-40B4-BE49-F238E27FC236}">
                <a16:creationId xmlns:a16="http://schemas.microsoft.com/office/drawing/2014/main" id="{7846B56C-4FE8-23C6-0860-E888326C1620}"/>
              </a:ext>
            </a:extLst>
          </p:cNvPr>
          <p:cNvGrpSpPr/>
          <p:nvPr userDrawn="1"/>
        </p:nvGrpSpPr>
        <p:grpSpPr>
          <a:xfrm>
            <a:off x="1485900" y="4210806"/>
            <a:ext cx="385289" cy="405644"/>
            <a:chOff x="1450975" y="3846529"/>
            <a:chExt cx="505888" cy="532615"/>
          </a:xfrm>
        </p:grpSpPr>
        <p:sp>
          <p:nvSpPr>
            <p:cNvPr id="8" name="Rectangle 7">
              <a:extLst>
                <a:ext uri="{FF2B5EF4-FFF2-40B4-BE49-F238E27FC236}">
                  <a16:creationId xmlns:a16="http://schemas.microsoft.com/office/drawing/2014/main" id="{D6A5B323-36E4-F1AA-6584-39E4DBB580BD}"/>
                </a:ext>
              </a:extLst>
            </p:cNvPr>
            <p:cNvSpPr/>
            <p:nvPr userDrawn="1"/>
          </p:nvSpPr>
          <p:spPr>
            <a:xfrm>
              <a:off x="1450975" y="3859737"/>
              <a:ext cx="505888" cy="505888"/>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800"/>
            </a:p>
          </p:txBody>
        </p:sp>
        <p:sp>
          <p:nvSpPr>
            <p:cNvPr id="7" name="TextBox 6">
              <a:extLst>
                <a:ext uri="{FF2B5EF4-FFF2-40B4-BE49-F238E27FC236}">
                  <a16:creationId xmlns:a16="http://schemas.microsoft.com/office/drawing/2014/main" id="{BDA2C506-332A-601A-05D5-1D921E2491BD}"/>
                </a:ext>
              </a:extLst>
            </p:cNvPr>
            <p:cNvSpPr txBox="1"/>
            <p:nvPr userDrawn="1"/>
          </p:nvSpPr>
          <p:spPr>
            <a:xfrm>
              <a:off x="1515402" y="3846529"/>
              <a:ext cx="413899" cy="532615"/>
            </a:xfrm>
            <a:prstGeom prst="rect">
              <a:avLst/>
            </a:prstGeom>
            <a:noFill/>
          </p:spPr>
          <p:txBody>
            <a:bodyPr wrap="square" lIns="0" tIns="0" rIns="0" bIns="0" rtlCol="0">
              <a:spAutoFit/>
            </a:bodyPr>
            <a:lstStyle/>
            <a:p>
              <a:pPr algn="l"/>
              <a:r>
                <a:rPr lang="en-DE" sz="3600" b="1" i="0" u="none" strike="noStrike">
                  <a:solidFill>
                    <a:srgbClr val="FFFFFF"/>
                  </a:solidFill>
                  <a:effectLst/>
                  <a:latin typeface="untitled-sans"/>
                </a:rPr>
                <a:t>"</a:t>
              </a:r>
            </a:p>
          </p:txBody>
        </p:sp>
      </p:grpSp>
      <p:sp>
        <p:nvSpPr>
          <p:cNvPr id="4" name="Footer Placeholder 3">
            <a:extLst>
              <a:ext uri="{FF2B5EF4-FFF2-40B4-BE49-F238E27FC236}">
                <a16:creationId xmlns:a16="http://schemas.microsoft.com/office/drawing/2014/main" id="{E420D85E-9297-2AF6-D552-085411078D07}"/>
              </a:ext>
            </a:extLst>
          </p:cNvPr>
          <p:cNvSpPr>
            <a:spLocks noGrp="1"/>
          </p:cNvSpPr>
          <p:nvPr>
            <p:ph type="ftr" sz="quarter" idx="14"/>
          </p:nvPr>
        </p:nvSpPr>
        <p:spPr/>
        <p:txBody>
          <a:bodyPr/>
          <a:lstStyle>
            <a:lvl1pPr>
              <a:defRPr>
                <a:solidFill>
                  <a:schemeClr val="bg1"/>
                </a:solidFill>
              </a:defRPr>
            </a:lvl1pPr>
          </a:lstStyle>
          <a:p>
            <a:r>
              <a:rPr lang="en-GB"/>
              <a:t>byte – Bayerische Agentur für Digitales</a:t>
            </a:r>
          </a:p>
        </p:txBody>
      </p:sp>
      <p:sp>
        <p:nvSpPr>
          <p:cNvPr id="11" name="Slide Number Placeholder 10">
            <a:extLst>
              <a:ext uri="{FF2B5EF4-FFF2-40B4-BE49-F238E27FC236}">
                <a16:creationId xmlns:a16="http://schemas.microsoft.com/office/drawing/2014/main" id="{917574FC-B7F7-24D2-8786-D8497F59B6B0}"/>
              </a:ext>
            </a:extLst>
          </p:cNvPr>
          <p:cNvSpPr>
            <a:spLocks noGrp="1"/>
          </p:cNvSpPr>
          <p:nvPr>
            <p:ph type="sldNum" sz="quarter" idx="15"/>
          </p:nvPr>
        </p:nvSpPr>
        <p:spPr/>
        <p:txBody>
          <a:bodyPr/>
          <a:lstStyle>
            <a:lvl1pPr>
              <a:defRPr>
                <a:solidFill>
                  <a:schemeClr val="bg1"/>
                </a:solidFill>
              </a:defRPr>
            </a:lvl1pPr>
          </a:lstStyle>
          <a:p>
            <a:fld id="{0016BBAD-09BD-6243-A9CA-D1F4B193196B}" type="slidenum">
              <a:rPr lang="en-GB" smtClean="0"/>
              <a:pPr/>
              <a:t>‹Nr.›</a:t>
            </a:fld>
            <a:endParaRPr lang="en-GB"/>
          </a:p>
        </p:txBody>
      </p:sp>
    </p:spTree>
    <p:extLst>
      <p:ext uri="{BB962C8B-B14F-4D97-AF65-F5344CB8AC3E}">
        <p14:creationId xmlns:p14="http://schemas.microsoft.com/office/powerpoint/2010/main" val="489152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Zitat_hell">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38DB97D-F7CE-88B2-A20B-5D27E50DCF59}"/>
              </a:ext>
            </a:extLst>
          </p:cNvPr>
          <p:cNvGraphicFramePr>
            <a:graphicFrameLocks noChangeAspect="1"/>
          </p:cNvGraphicFramePr>
          <p:nvPr userDrawn="1">
            <p:custDataLst>
              <p:tags r:id="rId1"/>
            </p:custDataLst>
            <p:extLst>
              <p:ext uri="{D42A27DB-BD31-4B8C-83A1-F6EECF244321}">
                <p14:modId xmlns:p14="http://schemas.microsoft.com/office/powerpoint/2010/main" val="38242999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738DB97D-F7CE-88B2-A20B-5D27E50DCF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8A870AF8-4F01-5146-826A-83D019D02A45}"/>
              </a:ext>
            </a:extLst>
          </p:cNvPr>
          <p:cNvSpPr/>
          <p:nvPr userDrawn="1"/>
        </p:nvSpPr>
        <p:spPr>
          <a:xfrm>
            <a:off x="0" y="1844675"/>
            <a:ext cx="12192000" cy="296955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84" y="2060200"/>
            <a:ext cx="2420896" cy="2520672"/>
          </a:xfrm>
          <a:prstGeom prst="rect">
            <a:avLst/>
          </a:prstGeom>
        </p:spPr>
      </p:pic>
      <p:sp>
        <p:nvSpPr>
          <p:cNvPr id="4" name="Footer Placeholder 3">
            <a:extLst>
              <a:ext uri="{FF2B5EF4-FFF2-40B4-BE49-F238E27FC236}">
                <a16:creationId xmlns:a16="http://schemas.microsoft.com/office/drawing/2014/main" id="{D2B38CB1-FDC7-7724-3382-FDE165E41CE6}"/>
              </a:ext>
            </a:extLst>
          </p:cNvPr>
          <p:cNvSpPr>
            <a:spLocks noGrp="1"/>
          </p:cNvSpPr>
          <p:nvPr>
            <p:ph type="ftr" sz="quarter" idx="14"/>
          </p:nvPr>
        </p:nvSpPr>
        <p:spPr/>
        <p:txBody>
          <a:bodyPr/>
          <a:lstStyle/>
          <a:p>
            <a:r>
              <a:rPr lang="en-GB"/>
              <a:t>byte – Bayerische Agentur für Digitales</a:t>
            </a:r>
          </a:p>
        </p:txBody>
      </p:sp>
      <p:sp>
        <p:nvSpPr>
          <p:cNvPr id="11" name="Slide Number Placeholder 10">
            <a:extLst>
              <a:ext uri="{FF2B5EF4-FFF2-40B4-BE49-F238E27FC236}">
                <a16:creationId xmlns:a16="http://schemas.microsoft.com/office/drawing/2014/main" id="{FC703AE8-8BA3-EC08-8912-F44C7F221796}"/>
              </a:ext>
            </a:extLst>
          </p:cNvPr>
          <p:cNvSpPr>
            <a:spLocks noGrp="1"/>
          </p:cNvSpPr>
          <p:nvPr>
            <p:ph type="sldNum" sz="quarter" idx="15"/>
          </p:nvPr>
        </p:nvSpPr>
        <p:spPr/>
        <p:txBody>
          <a:bodyPr/>
          <a:lstStyle/>
          <a:p>
            <a:fld id="{0016BBAD-09BD-6243-A9CA-D1F4B193196B}" type="slidenum">
              <a:rPr lang="en-GB" smtClean="0"/>
              <a:pPr/>
              <a:t>‹Nr.›</a:t>
            </a:fld>
            <a:endParaRPr lang="en-GB"/>
          </a:p>
        </p:txBody>
      </p:sp>
      <p:sp>
        <p:nvSpPr>
          <p:cNvPr id="16" name="Textplatzhalter 9">
            <a:extLst>
              <a:ext uri="{FF2B5EF4-FFF2-40B4-BE49-F238E27FC236}">
                <a16:creationId xmlns:a16="http://schemas.microsoft.com/office/drawing/2014/main" id="{38C9BE58-0210-DDCB-C4F7-5054AB87A41C}"/>
              </a:ext>
            </a:extLst>
          </p:cNvPr>
          <p:cNvSpPr>
            <a:spLocks noGrp="1"/>
          </p:cNvSpPr>
          <p:nvPr>
            <p:ph type="body" sz="quarter" idx="12" hasCustomPrompt="1"/>
          </p:nvPr>
        </p:nvSpPr>
        <p:spPr>
          <a:xfrm>
            <a:off x="2149475" y="2241549"/>
            <a:ext cx="6940550" cy="2374901"/>
          </a:xfrm>
          <a:prstGeom prst="rect">
            <a:avLst/>
          </a:prstGeom>
        </p:spPr>
        <p:txBody>
          <a:bodyPr anchor="b">
            <a:noAutofit/>
          </a:bodyPr>
          <a:lstStyle>
            <a:lvl1pPr marL="0" indent="0">
              <a:lnSpc>
                <a:spcPct val="110000"/>
              </a:lnSpc>
              <a:buNone/>
              <a:defRPr sz="3200">
                <a:solidFill>
                  <a:schemeClr val="bg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r>
              <a:rPr lang="de-DE"/>
              <a:t>Zitat hinzufügen</a:t>
            </a:r>
          </a:p>
        </p:txBody>
      </p:sp>
      <p:sp>
        <p:nvSpPr>
          <p:cNvPr id="17" name="Textplatzhalter 9">
            <a:extLst>
              <a:ext uri="{FF2B5EF4-FFF2-40B4-BE49-F238E27FC236}">
                <a16:creationId xmlns:a16="http://schemas.microsoft.com/office/drawing/2014/main" id="{1537F0AE-CF4A-C156-0906-59646282716B}"/>
              </a:ext>
            </a:extLst>
          </p:cNvPr>
          <p:cNvSpPr>
            <a:spLocks noGrp="1"/>
          </p:cNvSpPr>
          <p:nvPr>
            <p:ph type="body" sz="quarter" idx="13" hasCustomPrompt="1"/>
          </p:nvPr>
        </p:nvSpPr>
        <p:spPr>
          <a:xfrm>
            <a:off x="2149475" y="5018036"/>
            <a:ext cx="6940550" cy="390578"/>
          </a:xfrm>
          <a:prstGeom prst="rect">
            <a:avLst/>
          </a:prstGeom>
        </p:spPr>
        <p:txBody>
          <a:bodyPr anchor="ctr">
            <a:noAutofit/>
          </a:bodyPr>
          <a:lstStyle>
            <a:lvl1pPr marL="0" indent="0">
              <a:lnSpc>
                <a:spcPct val="110000"/>
              </a:lnSpc>
              <a:spcBef>
                <a:spcPts val="0"/>
              </a:spcBef>
              <a:buNone/>
              <a:defRPr sz="14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r>
              <a:rPr lang="de-DE" sz="1400"/>
              <a:t>Quelle hinzufügen</a:t>
            </a:r>
            <a:endParaRPr lang="de-DE"/>
          </a:p>
        </p:txBody>
      </p:sp>
      <p:grpSp>
        <p:nvGrpSpPr>
          <p:cNvPr id="3" name="Group 2">
            <a:extLst>
              <a:ext uri="{FF2B5EF4-FFF2-40B4-BE49-F238E27FC236}">
                <a16:creationId xmlns:a16="http://schemas.microsoft.com/office/drawing/2014/main" id="{A3719475-AF3C-82B3-AF2B-288552D616F7}"/>
              </a:ext>
            </a:extLst>
          </p:cNvPr>
          <p:cNvGrpSpPr/>
          <p:nvPr userDrawn="1"/>
        </p:nvGrpSpPr>
        <p:grpSpPr>
          <a:xfrm>
            <a:off x="1485900" y="4210806"/>
            <a:ext cx="385289" cy="405644"/>
            <a:chOff x="1450975" y="3846529"/>
            <a:chExt cx="505888" cy="532615"/>
          </a:xfrm>
        </p:grpSpPr>
        <p:sp>
          <p:nvSpPr>
            <p:cNvPr id="5" name="Rectangle 4">
              <a:extLst>
                <a:ext uri="{FF2B5EF4-FFF2-40B4-BE49-F238E27FC236}">
                  <a16:creationId xmlns:a16="http://schemas.microsoft.com/office/drawing/2014/main" id="{0BC5B3C2-810F-DABA-A6B2-191517746F65}"/>
                </a:ext>
              </a:extLst>
            </p:cNvPr>
            <p:cNvSpPr/>
            <p:nvPr userDrawn="1"/>
          </p:nvSpPr>
          <p:spPr>
            <a:xfrm>
              <a:off x="1450975" y="3859737"/>
              <a:ext cx="505888" cy="505888"/>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sz="1800"/>
            </a:p>
          </p:txBody>
        </p:sp>
        <p:sp>
          <p:nvSpPr>
            <p:cNvPr id="7" name="TextBox 6">
              <a:extLst>
                <a:ext uri="{FF2B5EF4-FFF2-40B4-BE49-F238E27FC236}">
                  <a16:creationId xmlns:a16="http://schemas.microsoft.com/office/drawing/2014/main" id="{0A83DDDE-9AB9-18A9-08F3-769654D16F66}"/>
                </a:ext>
              </a:extLst>
            </p:cNvPr>
            <p:cNvSpPr txBox="1"/>
            <p:nvPr userDrawn="1"/>
          </p:nvSpPr>
          <p:spPr>
            <a:xfrm>
              <a:off x="1515402" y="3846529"/>
              <a:ext cx="413899" cy="532615"/>
            </a:xfrm>
            <a:prstGeom prst="rect">
              <a:avLst/>
            </a:prstGeom>
            <a:noFill/>
          </p:spPr>
          <p:txBody>
            <a:bodyPr wrap="square" lIns="0" tIns="0" rIns="0" bIns="0" rtlCol="0">
              <a:spAutoFit/>
            </a:bodyPr>
            <a:lstStyle/>
            <a:p>
              <a:pPr algn="l"/>
              <a:r>
                <a:rPr lang="en-DE" sz="3600" b="1" i="0" u="none" strike="noStrike">
                  <a:solidFill>
                    <a:srgbClr val="FFFFFF"/>
                  </a:solidFill>
                  <a:effectLst/>
                  <a:latin typeface="untitled-sans"/>
                </a:rPr>
                <a:t>"</a:t>
              </a:r>
            </a:p>
          </p:txBody>
        </p:sp>
      </p:grpSp>
    </p:spTree>
    <p:extLst>
      <p:ext uri="{BB962C8B-B14F-4D97-AF65-F5344CB8AC3E}">
        <p14:creationId xmlns:p14="http://schemas.microsoft.com/office/powerpoint/2010/main" val="1090625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tement_dunkel">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ACCE8D5-DB32-601B-BEA8-E293D139602A}"/>
              </a:ext>
            </a:extLst>
          </p:cNvPr>
          <p:cNvGraphicFramePr>
            <a:graphicFrameLocks noChangeAspect="1"/>
          </p:cNvGraphicFramePr>
          <p:nvPr userDrawn="1">
            <p:custDataLst>
              <p:tags r:id="rId1"/>
            </p:custDataLst>
            <p:extLst>
              <p:ext uri="{D42A27DB-BD31-4B8C-83A1-F6EECF244321}">
                <p14:modId xmlns:p14="http://schemas.microsoft.com/office/powerpoint/2010/main" val="38806097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AACCE8D5-DB32-601B-BEA8-E293D13960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1" name="Rechteck 2">
            <a:extLst>
              <a:ext uri="{FF2B5EF4-FFF2-40B4-BE49-F238E27FC236}">
                <a16:creationId xmlns:a16="http://schemas.microsoft.com/office/drawing/2014/main" id="{7C76715A-DCDA-01CC-E493-EB1DF0DE38E7}"/>
              </a:ext>
            </a:extLst>
          </p:cNvPr>
          <p:cNvSpPr/>
          <p:nvPr userDrawn="1"/>
        </p:nvSpPr>
        <p:spPr>
          <a:xfrm rot="16200000">
            <a:off x="2995613" y="-2995614"/>
            <a:ext cx="6200776" cy="12192002"/>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2" name="Titel 1">
            <a:extLst>
              <a:ext uri="{FF2B5EF4-FFF2-40B4-BE49-F238E27FC236}">
                <a16:creationId xmlns:a16="http://schemas.microsoft.com/office/drawing/2014/main" id="{4013B1EC-95E7-EC42-94DE-B3ACC20C58B3}"/>
              </a:ext>
            </a:extLst>
          </p:cNvPr>
          <p:cNvSpPr>
            <a:spLocks noGrp="1"/>
          </p:cNvSpPr>
          <p:nvPr>
            <p:ph type="ctrTitle" hasCustomPrompt="1"/>
          </p:nvPr>
        </p:nvSpPr>
        <p:spPr>
          <a:xfrm>
            <a:off x="1485900" y="1844675"/>
            <a:ext cx="9220200" cy="3168650"/>
          </a:xfrm>
        </p:spPr>
        <p:txBody>
          <a:bodyPr vert="horz" anchor="b">
            <a:noAutofit/>
          </a:bodyPr>
          <a:lstStyle>
            <a:lvl1pPr algn="l">
              <a:defRPr sz="4000">
                <a:solidFill>
                  <a:schemeClr val="bg1"/>
                </a:solidFill>
                <a:latin typeface="+mj-lt"/>
              </a:defRPr>
            </a:lvl1pPr>
          </a:lstStyle>
          <a:p>
            <a:r>
              <a:rPr lang="de-DE" noProof="0"/>
              <a:t>Klicke hier um einen Action Title einzufügen.</a:t>
            </a:r>
          </a:p>
        </p:txBody>
      </p:sp>
      <p:sp>
        <p:nvSpPr>
          <p:cNvPr id="12" name="Footer Placeholder 11">
            <a:extLst>
              <a:ext uri="{FF2B5EF4-FFF2-40B4-BE49-F238E27FC236}">
                <a16:creationId xmlns:a16="http://schemas.microsoft.com/office/drawing/2014/main" id="{1B711528-CD78-4139-5DC1-8E2674FFE69C}"/>
              </a:ext>
            </a:extLst>
          </p:cNvPr>
          <p:cNvSpPr>
            <a:spLocks noGrp="1"/>
          </p:cNvSpPr>
          <p:nvPr>
            <p:ph type="ftr" sz="quarter" idx="10"/>
          </p:nvPr>
        </p:nvSpPr>
        <p:spPr/>
        <p:txBody>
          <a:bodyPr/>
          <a:lstStyle/>
          <a:p>
            <a:r>
              <a:rPr lang="en-GB"/>
              <a:t>byte – Bayerische Agentur für Digitales</a:t>
            </a:r>
          </a:p>
        </p:txBody>
      </p:sp>
      <p:sp>
        <p:nvSpPr>
          <p:cNvPr id="14" name="Slide Number Placeholder 13">
            <a:extLst>
              <a:ext uri="{FF2B5EF4-FFF2-40B4-BE49-F238E27FC236}">
                <a16:creationId xmlns:a16="http://schemas.microsoft.com/office/drawing/2014/main" id="{067ADF14-6AAE-0FD9-346E-32D5586B9CBC}"/>
              </a:ext>
            </a:extLst>
          </p:cNvPr>
          <p:cNvSpPr>
            <a:spLocks noGrp="1"/>
          </p:cNvSpPr>
          <p:nvPr>
            <p:ph type="sldNum" sz="quarter" idx="11"/>
          </p:nvPr>
        </p:nvSpPr>
        <p:spPr/>
        <p:txBody>
          <a:bodyPr/>
          <a:lstStyle/>
          <a:p>
            <a:fld id="{0016BBAD-09BD-6243-A9CA-D1F4B193196B}" type="slidenum">
              <a:rPr lang="en-GB" smtClean="0"/>
              <a:pPr/>
              <a:t>‹Nr.›</a:t>
            </a:fld>
            <a:endParaRPr lang="en-GB"/>
          </a:p>
        </p:txBody>
      </p:sp>
      <p:pic>
        <p:nvPicPr>
          <p:cNvPr id="18" name="Grafik 9">
            <a:extLst>
              <a:ext uri="{FF2B5EF4-FFF2-40B4-BE49-F238E27FC236}">
                <a16:creationId xmlns:a16="http://schemas.microsoft.com/office/drawing/2014/main" id="{2632C6A6-B2DE-E237-C03A-F1F72E89E63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pic>
        <p:nvPicPr>
          <p:cNvPr id="7" name="Grafik 2">
            <a:extLst>
              <a:ext uri="{FF2B5EF4-FFF2-40B4-BE49-F238E27FC236}">
                <a16:creationId xmlns:a16="http://schemas.microsoft.com/office/drawing/2014/main" id="{64BDB867-BBB8-1AA1-85B2-F82DA7F833C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4675" y="5805488"/>
            <a:ext cx="7511042" cy="790574"/>
          </a:xfrm>
          <a:prstGeom prst="rect">
            <a:avLst/>
          </a:prstGeom>
        </p:spPr>
      </p:pic>
      <p:sp>
        <p:nvSpPr>
          <p:cNvPr id="10" name="Text Placeholder 7">
            <a:extLst>
              <a:ext uri="{FF2B5EF4-FFF2-40B4-BE49-F238E27FC236}">
                <a16:creationId xmlns:a16="http://schemas.microsoft.com/office/drawing/2014/main" id="{4A26F783-CAF9-4B76-57B8-4EC41A100D66}"/>
              </a:ext>
            </a:extLst>
          </p:cNvPr>
          <p:cNvSpPr>
            <a:spLocks noGrp="1"/>
          </p:cNvSpPr>
          <p:nvPr>
            <p:ph type="body" sz="quarter" idx="12" hasCustomPrompt="1"/>
          </p:nvPr>
        </p:nvSpPr>
        <p:spPr>
          <a:xfrm>
            <a:off x="4051300" y="152400"/>
            <a:ext cx="5024992" cy="180975"/>
          </a:xfrm>
        </p:spPr>
        <p:txBody>
          <a:bodyPr anchor="ctr">
            <a:noAutofit/>
          </a:bodyPr>
          <a:lstStyle>
            <a:lvl1pPr algn="r">
              <a:defRPr sz="900">
                <a:solidFill>
                  <a:schemeClr val="accent2"/>
                </a:solidFill>
              </a:defRPr>
            </a:lvl1pPr>
          </a:lstStyle>
          <a:p>
            <a:pPr lvl="0"/>
            <a:r>
              <a:rPr lang="de-DE" noProof="0"/>
              <a:t>Kapitel ➝ Thema</a:t>
            </a:r>
          </a:p>
        </p:txBody>
      </p:sp>
    </p:spTree>
    <p:extLst>
      <p:ext uri="{BB962C8B-B14F-4D97-AF65-F5344CB8AC3E}">
        <p14:creationId xmlns:p14="http://schemas.microsoft.com/office/powerpoint/2010/main" val="22157951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sclaimer_dunke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716BE7A-A5F5-C3F0-7C38-1866554B0342}"/>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pic>
        <p:nvPicPr>
          <p:cNvPr id="6" name="Grafik 5">
            <a:extLst>
              <a:ext uri="{FF2B5EF4-FFF2-40B4-BE49-F238E27FC236}">
                <a16:creationId xmlns:a16="http://schemas.microsoft.com/office/drawing/2014/main" id="{F89E7D01-1C6B-E128-58A7-D67E64756A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78277" y="451568"/>
            <a:ext cx="5521636" cy="5749208"/>
          </a:xfrm>
          <a:prstGeom prst="rect">
            <a:avLst/>
          </a:prstGeom>
        </p:spPr>
      </p:pic>
      <p:sp>
        <p:nvSpPr>
          <p:cNvPr id="5" name="Footer Placeholder 4">
            <a:extLst>
              <a:ext uri="{FF2B5EF4-FFF2-40B4-BE49-F238E27FC236}">
                <a16:creationId xmlns:a16="http://schemas.microsoft.com/office/drawing/2014/main" id="{CFD2C25A-443E-BBE9-F104-CA5F2EDAAC99}"/>
              </a:ext>
            </a:extLst>
          </p:cNvPr>
          <p:cNvSpPr>
            <a:spLocks noGrp="1"/>
          </p:cNvSpPr>
          <p:nvPr>
            <p:ph type="ftr" sz="quarter" idx="10"/>
          </p:nvPr>
        </p:nvSpPr>
        <p:spPr/>
        <p:txBody>
          <a:bodyPr/>
          <a:lstStyle>
            <a:lvl1pPr>
              <a:defRPr>
                <a:solidFill>
                  <a:schemeClr val="bg1"/>
                </a:solidFill>
              </a:defRPr>
            </a:lvl1pPr>
          </a:lstStyle>
          <a:p>
            <a:r>
              <a:rPr lang="en-GB"/>
              <a:t>byte – Bayerische Agentur für Digitales</a:t>
            </a:r>
          </a:p>
        </p:txBody>
      </p:sp>
      <p:sp>
        <p:nvSpPr>
          <p:cNvPr id="7" name="Slide Number Placeholder 6">
            <a:extLst>
              <a:ext uri="{FF2B5EF4-FFF2-40B4-BE49-F238E27FC236}">
                <a16:creationId xmlns:a16="http://schemas.microsoft.com/office/drawing/2014/main" id="{0859A140-FD23-0EC8-57DC-EF0B70153FC7}"/>
              </a:ext>
            </a:extLst>
          </p:cNvPr>
          <p:cNvSpPr>
            <a:spLocks noGrp="1"/>
          </p:cNvSpPr>
          <p:nvPr>
            <p:ph type="sldNum" sz="quarter" idx="11"/>
          </p:nvPr>
        </p:nvSpPr>
        <p:spPr/>
        <p:txBody>
          <a:bodyPr/>
          <a:lstStyle>
            <a:lvl1pPr>
              <a:defRPr>
                <a:solidFill>
                  <a:schemeClr val="bg1"/>
                </a:solidFill>
              </a:defRPr>
            </a:lvl1pPr>
          </a:lstStyle>
          <a:p>
            <a:fld id="{0016BBAD-09BD-6243-A9CA-D1F4B193196B}" type="slidenum">
              <a:rPr lang="en-GB" smtClean="0"/>
              <a:pPr/>
              <a:t>‹Nr.›</a:t>
            </a:fld>
            <a:endParaRPr lang="en-GB"/>
          </a:p>
        </p:txBody>
      </p:sp>
      <p:grpSp>
        <p:nvGrpSpPr>
          <p:cNvPr id="14" name="Gruppieren 7">
            <a:extLst>
              <a:ext uri="{FF2B5EF4-FFF2-40B4-BE49-F238E27FC236}">
                <a16:creationId xmlns:a16="http://schemas.microsoft.com/office/drawing/2014/main" id="{C5687198-9890-2E00-9429-EB667FF68BA3}"/>
              </a:ext>
            </a:extLst>
          </p:cNvPr>
          <p:cNvGrpSpPr/>
          <p:nvPr userDrawn="1"/>
        </p:nvGrpSpPr>
        <p:grpSpPr>
          <a:xfrm>
            <a:off x="10798598" y="155483"/>
            <a:ext cx="856827" cy="1041492"/>
            <a:chOff x="12265626" y="195630"/>
            <a:chExt cx="884395" cy="1075002"/>
          </a:xfrm>
        </p:grpSpPr>
        <p:sp>
          <p:nvSpPr>
            <p:cNvPr id="15" name="Freihandform: Form 8">
              <a:extLst>
                <a:ext uri="{FF2B5EF4-FFF2-40B4-BE49-F238E27FC236}">
                  <a16:creationId xmlns:a16="http://schemas.microsoft.com/office/drawing/2014/main" id="{D96FB1FB-4074-3FD5-F845-634C7F170743}"/>
                </a:ext>
              </a:extLst>
            </p:cNvPr>
            <p:cNvSpPr/>
            <p:nvPr/>
          </p:nvSpPr>
          <p:spPr>
            <a:xfrm>
              <a:off x="12265626" y="195630"/>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sz="1800"/>
            </a:p>
          </p:txBody>
        </p:sp>
        <p:sp>
          <p:nvSpPr>
            <p:cNvPr id="16" name="Freihandform: Form 9">
              <a:extLst>
                <a:ext uri="{FF2B5EF4-FFF2-40B4-BE49-F238E27FC236}">
                  <a16:creationId xmlns:a16="http://schemas.microsoft.com/office/drawing/2014/main" id="{4F12E094-BEA8-9FAF-D1BB-1E86EB7AE560}"/>
                </a:ext>
              </a:extLst>
            </p:cNvPr>
            <p:cNvSpPr/>
            <p:nvPr/>
          </p:nvSpPr>
          <p:spPr>
            <a:xfrm>
              <a:off x="12793204"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sz="1800"/>
            </a:p>
          </p:txBody>
        </p:sp>
        <p:sp>
          <p:nvSpPr>
            <p:cNvPr id="22" name="Freihandform: Form 10">
              <a:extLst>
                <a:ext uri="{FF2B5EF4-FFF2-40B4-BE49-F238E27FC236}">
                  <a16:creationId xmlns:a16="http://schemas.microsoft.com/office/drawing/2014/main" id="{3893B44C-22CF-6381-0C24-E4C23D365862}"/>
                </a:ext>
              </a:extLst>
            </p:cNvPr>
            <p:cNvSpPr/>
            <p:nvPr/>
          </p:nvSpPr>
          <p:spPr>
            <a:xfrm>
              <a:off x="12910626" y="546759"/>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sz="1800"/>
            </a:p>
          </p:txBody>
        </p:sp>
        <p:sp>
          <p:nvSpPr>
            <p:cNvPr id="55" name="Freihandform: Form 12">
              <a:extLst>
                <a:ext uri="{FF2B5EF4-FFF2-40B4-BE49-F238E27FC236}">
                  <a16:creationId xmlns:a16="http://schemas.microsoft.com/office/drawing/2014/main" id="{CF40B4C9-A6CC-A78C-B30E-9957FB9DF126}"/>
                </a:ext>
              </a:extLst>
            </p:cNvPr>
            <p:cNvSpPr/>
            <p:nvPr/>
          </p:nvSpPr>
          <p:spPr>
            <a:xfrm>
              <a:off x="12675908" y="42946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sz="1800"/>
            </a:p>
          </p:txBody>
        </p:sp>
        <p:sp>
          <p:nvSpPr>
            <p:cNvPr id="57" name="Freihandform: Form 16">
              <a:extLst>
                <a:ext uri="{FF2B5EF4-FFF2-40B4-BE49-F238E27FC236}">
                  <a16:creationId xmlns:a16="http://schemas.microsoft.com/office/drawing/2014/main" id="{049B4A17-5836-42E7-4688-0B144D896BBE}"/>
                </a:ext>
              </a:extLst>
            </p:cNvPr>
            <p:cNvSpPr/>
            <p:nvPr/>
          </p:nvSpPr>
          <p:spPr>
            <a:xfrm>
              <a:off x="12675908"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sz="1800"/>
            </a:p>
          </p:txBody>
        </p:sp>
        <p:grpSp>
          <p:nvGrpSpPr>
            <p:cNvPr id="58" name="Gruppieren 17">
              <a:extLst>
                <a:ext uri="{FF2B5EF4-FFF2-40B4-BE49-F238E27FC236}">
                  <a16:creationId xmlns:a16="http://schemas.microsoft.com/office/drawing/2014/main" id="{41DA748D-7554-17D6-FCFC-C89E61401FCB}"/>
                </a:ext>
              </a:extLst>
            </p:cNvPr>
            <p:cNvGrpSpPr/>
            <p:nvPr userDrawn="1"/>
          </p:nvGrpSpPr>
          <p:grpSpPr>
            <a:xfrm>
              <a:off x="12266005" y="1135893"/>
              <a:ext cx="883889" cy="134739"/>
              <a:chOff x="12266005" y="1135893"/>
              <a:chExt cx="883889" cy="134739"/>
            </a:xfrm>
            <a:solidFill>
              <a:schemeClr val="bg1"/>
            </a:solidFill>
          </p:grpSpPr>
          <p:sp>
            <p:nvSpPr>
              <p:cNvPr id="65" name="Freihandform: Form 25">
                <a:extLst>
                  <a:ext uri="{FF2B5EF4-FFF2-40B4-BE49-F238E27FC236}">
                    <a16:creationId xmlns:a16="http://schemas.microsoft.com/office/drawing/2014/main" id="{921E035B-215D-6D8F-DC33-B94E9B18B738}"/>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sz="1800"/>
              </a:p>
            </p:txBody>
          </p:sp>
          <p:sp>
            <p:nvSpPr>
              <p:cNvPr id="66" name="Freihandform: Form 26">
                <a:extLst>
                  <a:ext uri="{FF2B5EF4-FFF2-40B4-BE49-F238E27FC236}">
                    <a16:creationId xmlns:a16="http://schemas.microsoft.com/office/drawing/2014/main" id="{5EDED769-C65D-7E63-31E6-58F767AD7071}"/>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sz="1800"/>
              </a:p>
            </p:txBody>
          </p:sp>
          <p:sp>
            <p:nvSpPr>
              <p:cNvPr id="67" name="Freihandform: Form 27">
                <a:extLst>
                  <a:ext uri="{FF2B5EF4-FFF2-40B4-BE49-F238E27FC236}">
                    <a16:creationId xmlns:a16="http://schemas.microsoft.com/office/drawing/2014/main" id="{8A134BB8-4D17-2362-F073-5E39BD0E9AB2}"/>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sz="1800"/>
              </a:p>
            </p:txBody>
          </p:sp>
          <p:sp>
            <p:nvSpPr>
              <p:cNvPr id="68" name="Freihandform: Form 28">
                <a:extLst>
                  <a:ext uri="{FF2B5EF4-FFF2-40B4-BE49-F238E27FC236}">
                    <a16:creationId xmlns:a16="http://schemas.microsoft.com/office/drawing/2014/main" id="{36DA6895-3B25-00CF-4760-E26AB9BF2FD0}"/>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sz="1800"/>
              </a:p>
            </p:txBody>
          </p:sp>
          <p:sp>
            <p:nvSpPr>
              <p:cNvPr id="69" name="Freihandform: Form 29">
                <a:extLst>
                  <a:ext uri="{FF2B5EF4-FFF2-40B4-BE49-F238E27FC236}">
                    <a16:creationId xmlns:a16="http://schemas.microsoft.com/office/drawing/2014/main" id="{D1A190CB-EBAE-E9A4-31A2-701559D1BC50}"/>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sz="1800"/>
              </a:p>
            </p:txBody>
          </p:sp>
          <p:sp>
            <p:nvSpPr>
              <p:cNvPr id="70" name="Freihandform: Form 30">
                <a:extLst>
                  <a:ext uri="{FF2B5EF4-FFF2-40B4-BE49-F238E27FC236}">
                    <a16:creationId xmlns:a16="http://schemas.microsoft.com/office/drawing/2014/main" id="{A23765E7-06A6-A3D2-82A3-64747A6CC07B}"/>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sz="1800"/>
              </a:p>
            </p:txBody>
          </p:sp>
          <p:sp>
            <p:nvSpPr>
              <p:cNvPr id="71" name="Freihandform: Form 31">
                <a:extLst>
                  <a:ext uri="{FF2B5EF4-FFF2-40B4-BE49-F238E27FC236}">
                    <a16:creationId xmlns:a16="http://schemas.microsoft.com/office/drawing/2014/main" id="{293AB143-0688-27D7-7F10-BB562D639E28}"/>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sz="1800"/>
              </a:p>
            </p:txBody>
          </p:sp>
          <p:sp>
            <p:nvSpPr>
              <p:cNvPr id="72" name="Freihandform: Form 32">
                <a:extLst>
                  <a:ext uri="{FF2B5EF4-FFF2-40B4-BE49-F238E27FC236}">
                    <a16:creationId xmlns:a16="http://schemas.microsoft.com/office/drawing/2014/main" id="{AC1F7098-FC0F-4487-6A4A-F0D22AC11F28}"/>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sz="1800"/>
              </a:p>
            </p:txBody>
          </p:sp>
          <p:sp>
            <p:nvSpPr>
              <p:cNvPr id="73" name="Freihandform: Form 33">
                <a:extLst>
                  <a:ext uri="{FF2B5EF4-FFF2-40B4-BE49-F238E27FC236}">
                    <a16:creationId xmlns:a16="http://schemas.microsoft.com/office/drawing/2014/main" id="{AE3DF874-3A0C-7969-CAE1-D0BD5249BFCA}"/>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sz="1800"/>
              </a:p>
            </p:txBody>
          </p:sp>
          <p:sp>
            <p:nvSpPr>
              <p:cNvPr id="74" name="Freihandform: Form 34">
                <a:extLst>
                  <a:ext uri="{FF2B5EF4-FFF2-40B4-BE49-F238E27FC236}">
                    <a16:creationId xmlns:a16="http://schemas.microsoft.com/office/drawing/2014/main" id="{D511512D-9DD2-403A-3DF6-0E5310944C56}"/>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sz="1800"/>
              </a:p>
            </p:txBody>
          </p:sp>
          <p:sp>
            <p:nvSpPr>
              <p:cNvPr id="75" name="Freihandform: Form 35">
                <a:extLst>
                  <a:ext uri="{FF2B5EF4-FFF2-40B4-BE49-F238E27FC236}">
                    <a16:creationId xmlns:a16="http://schemas.microsoft.com/office/drawing/2014/main" id="{E0C049C8-95B4-1BDF-C4CA-08401466E43D}"/>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sz="1800"/>
              </a:p>
            </p:txBody>
          </p:sp>
          <p:sp>
            <p:nvSpPr>
              <p:cNvPr id="76" name="Freihandform: Form 36">
                <a:extLst>
                  <a:ext uri="{FF2B5EF4-FFF2-40B4-BE49-F238E27FC236}">
                    <a16:creationId xmlns:a16="http://schemas.microsoft.com/office/drawing/2014/main" id="{F84ECCC4-F306-B6AA-75F1-9CF3A736DC0F}"/>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sz="1800"/>
              </a:p>
            </p:txBody>
          </p:sp>
          <p:sp>
            <p:nvSpPr>
              <p:cNvPr id="77" name="Freihandform: Form 37">
                <a:extLst>
                  <a:ext uri="{FF2B5EF4-FFF2-40B4-BE49-F238E27FC236}">
                    <a16:creationId xmlns:a16="http://schemas.microsoft.com/office/drawing/2014/main" id="{4461F0B5-8DF0-43B4-E5E4-2E61ABBF6A5D}"/>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sz="1800"/>
              </a:p>
            </p:txBody>
          </p:sp>
          <p:sp>
            <p:nvSpPr>
              <p:cNvPr id="78" name="Freihandform: Form 38">
                <a:extLst>
                  <a:ext uri="{FF2B5EF4-FFF2-40B4-BE49-F238E27FC236}">
                    <a16:creationId xmlns:a16="http://schemas.microsoft.com/office/drawing/2014/main" id="{BE50E7A4-435D-C2F5-8BEA-886F4277EBC7}"/>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sz="1800"/>
              </a:p>
            </p:txBody>
          </p:sp>
          <p:sp>
            <p:nvSpPr>
              <p:cNvPr id="79" name="Freihandform: Form 39">
                <a:extLst>
                  <a:ext uri="{FF2B5EF4-FFF2-40B4-BE49-F238E27FC236}">
                    <a16:creationId xmlns:a16="http://schemas.microsoft.com/office/drawing/2014/main" id="{14D90E2E-6D7C-65CE-C196-61A671A2A30E}"/>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sz="1800"/>
              </a:p>
            </p:txBody>
          </p:sp>
          <p:sp>
            <p:nvSpPr>
              <p:cNvPr id="80" name="Freihandform: Form 40">
                <a:extLst>
                  <a:ext uri="{FF2B5EF4-FFF2-40B4-BE49-F238E27FC236}">
                    <a16:creationId xmlns:a16="http://schemas.microsoft.com/office/drawing/2014/main" id="{DE1B341F-AAEB-4F49-3412-8EF4BC11146C}"/>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sz="1800"/>
              </a:p>
            </p:txBody>
          </p:sp>
          <p:sp>
            <p:nvSpPr>
              <p:cNvPr id="81" name="Freihandform: Form 41">
                <a:extLst>
                  <a:ext uri="{FF2B5EF4-FFF2-40B4-BE49-F238E27FC236}">
                    <a16:creationId xmlns:a16="http://schemas.microsoft.com/office/drawing/2014/main" id="{E0382385-FB9A-A9D5-496A-359F38D64251}"/>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sz="1800"/>
              </a:p>
            </p:txBody>
          </p:sp>
          <p:sp>
            <p:nvSpPr>
              <p:cNvPr id="82" name="Freihandform: Form 42">
                <a:extLst>
                  <a:ext uri="{FF2B5EF4-FFF2-40B4-BE49-F238E27FC236}">
                    <a16:creationId xmlns:a16="http://schemas.microsoft.com/office/drawing/2014/main" id="{6178A5EE-4336-E800-5571-C62874CC045B}"/>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sz="1800"/>
              </a:p>
            </p:txBody>
          </p:sp>
          <p:sp>
            <p:nvSpPr>
              <p:cNvPr id="83" name="Freihandform: Form 43">
                <a:extLst>
                  <a:ext uri="{FF2B5EF4-FFF2-40B4-BE49-F238E27FC236}">
                    <a16:creationId xmlns:a16="http://schemas.microsoft.com/office/drawing/2014/main" id="{0A8FEE84-FAE5-A39A-9886-6659AD8A825A}"/>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sz="1800"/>
              </a:p>
            </p:txBody>
          </p:sp>
          <p:sp>
            <p:nvSpPr>
              <p:cNvPr id="84" name="Freihandform: Form 44">
                <a:extLst>
                  <a:ext uri="{FF2B5EF4-FFF2-40B4-BE49-F238E27FC236}">
                    <a16:creationId xmlns:a16="http://schemas.microsoft.com/office/drawing/2014/main" id="{67441951-56D6-67C9-87DC-6230DE1FB817}"/>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sz="1800"/>
              </a:p>
            </p:txBody>
          </p:sp>
          <p:sp>
            <p:nvSpPr>
              <p:cNvPr id="85" name="Freihandform: Form 45">
                <a:extLst>
                  <a:ext uri="{FF2B5EF4-FFF2-40B4-BE49-F238E27FC236}">
                    <a16:creationId xmlns:a16="http://schemas.microsoft.com/office/drawing/2014/main" id="{B6F263A9-9E72-9768-DB8A-3A0FCA2B8FBF}"/>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sz="1800"/>
              </a:p>
            </p:txBody>
          </p:sp>
          <p:sp>
            <p:nvSpPr>
              <p:cNvPr id="86" name="Freihandform: Form 46">
                <a:extLst>
                  <a:ext uri="{FF2B5EF4-FFF2-40B4-BE49-F238E27FC236}">
                    <a16:creationId xmlns:a16="http://schemas.microsoft.com/office/drawing/2014/main" id="{084141B2-299D-9697-D417-0AEE856796EA}"/>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sz="1800"/>
              </a:p>
            </p:txBody>
          </p:sp>
          <p:sp>
            <p:nvSpPr>
              <p:cNvPr id="87" name="Freihandform: Form 47">
                <a:extLst>
                  <a:ext uri="{FF2B5EF4-FFF2-40B4-BE49-F238E27FC236}">
                    <a16:creationId xmlns:a16="http://schemas.microsoft.com/office/drawing/2014/main" id="{B64E3C72-C1F9-B654-C776-7D2E9DE55699}"/>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sz="1800"/>
              </a:p>
            </p:txBody>
          </p:sp>
          <p:sp>
            <p:nvSpPr>
              <p:cNvPr id="88" name="Freihandform: Form 48">
                <a:extLst>
                  <a:ext uri="{FF2B5EF4-FFF2-40B4-BE49-F238E27FC236}">
                    <a16:creationId xmlns:a16="http://schemas.microsoft.com/office/drawing/2014/main" id="{3356773A-A467-0E8B-BDDD-BA0EB30DE302}"/>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sz="1800"/>
              </a:p>
            </p:txBody>
          </p:sp>
          <p:sp>
            <p:nvSpPr>
              <p:cNvPr id="89" name="Freihandform: Form 49">
                <a:extLst>
                  <a:ext uri="{FF2B5EF4-FFF2-40B4-BE49-F238E27FC236}">
                    <a16:creationId xmlns:a16="http://schemas.microsoft.com/office/drawing/2014/main" id="{0777E671-7B95-55B9-E9F4-4C7EBB5E2F51}"/>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sz="1800"/>
              </a:p>
            </p:txBody>
          </p:sp>
          <p:sp>
            <p:nvSpPr>
              <p:cNvPr id="90" name="Freihandform: Form 50">
                <a:extLst>
                  <a:ext uri="{FF2B5EF4-FFF2-40B4-BE49-F238E27FC236}">
                    <a16:creationId xmlns:a16="http://schemas.microsoft.com/office/drawing/2014/main" id="{DF99ADA7-59E2-4152-C698-6A0B669AD310}"/>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sz="1800"/>
              </a:p>
            </p:txBody>
          </p:sp>
          <p:sp>
            <p:nvSpPr>
              <p:cNvPr id="91" name="Freihandform: Form 51">
                <a:extLst>
                  <a:ext uri="{FF2B5EF4-FFF2-40B4-BE49-F238E27FC236}">
                    <a16:creationId xmlns:a16="http://schemas.microsoft.com/office/drawing/2014/main" id="{0DE8425E-0463-D1CF-3A94-8C457602949F}"/>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sz="1800"/>
              </a:p>
            </p:txBody>
          </p:sp>
          <p:sp>
            <p:nvSpPr>
              <p:cNvPr id="92" name="Freihandform: Form 52">
                <a:extLst>
                  <a:ext uri="{FF2B5EF4-FFF2-40B4-BE49-F238E27FC236}">
                    <a16:creationId xmlns:a16="http://schemas.microsoft.com/office/drawing/2014/main" id="{92391E97-B3FF-9595-4F68-DB2BC899BD8D}"/>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sz="1800"/>
              </a:p>
            </p:txBody>
          </p:sp>
          <p:sp>
            <p:nvSpPr>
              <p:cNvPr id="93" name="Freihandform: Form 53">
                <a:extLst>
                  <a:ext uri="{FF2B5EF4-FFF2-40B4-BE49-F238E27FC236}">
                    <a16:creationId xmlns:a16="http://schemas.microsoft.com/office/drawing/2014/main" id="{06EB846B-57F2-98AF-8458-4814DE74E5D7}"/>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sz="1800"/>
              </a:p>
            </p:txBody>
          </p:sp>
        </p:grpSp>
        <p:sp>
          <p:nvSpPr>
            <p:cNvPr id="59" name="Freihandform: Form 18">
              <a:extLst>
                <a:ext uri="{FF2B5EF4-FFF2-40B4-BE49-F238E27FC236}">
                  <a16:creationId xmlns:a16="http://schemas.microsoft.com/office/drawing/2014/main" id="{81D11BBA-7D52-8BFE-8064-4763EC703AA0}"/>
                </a:ext>
              </a:extLst>
            </p:cNvPr>
            <p:cNvSpPr/>
            <p:nvPr/>
          </p:nvSpPr>
          <p:spPr>
            <a:xfrm>
              <a:off x="12334891" y="759990"/>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sz="1800"/>
            </a:p>
          </p:txBody>
        </p:sp>
        <p:sp>
          <p:nvSpPr>
            <p:cNvPr id="60" name="Freihandform: Form 19">
              <a:extLst>
                <a:ext uri="{FF2B5EF4-FFF2-40B4-BE49-F238E27FC236}">
                  <a16:creationId xmlns:a16="http://schemas.microsoft.com/office/drawing/2014/main" id="{F33DA580-D229-0C19-B3DE-C0D3F3F4A4DE}"/>
                </a:ext>
              </a:extLst>
            </p:cNvPr>
            <p:cNvSpPr/>
            <p:nvPr/>
          </p:nvSpPr>
          <p:spPr>
            <a:xfrm>
              <a:off x="12553430" y="808779"/>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sz="1800"/>
            </a:p>
          </p:txBody>
        </p:sp>
        <p:sp>
          <p:nvSpPr>
            <p:cNvPr id="61" name="Freihandform: Form 20">
              <a:extLst>
                <a:ext uri="{FF2B5EF4-FFF2-40B4-BE49-F238E27FC236}">
                  <a16:creationId xmlns:a16="http://schemas.microsoft.com/office/drawing/2014/main" id="{D09206A8-51E0-7CFE-C0AA-260BD04AA9B0}"/>
                </a:ext>
              </a:extLst>
            </p:cNvPr>
            <p:cNvSpPr/>
            <p:nvPr/>
          </p:nvSpPr>
          <p:spPr>
            <a:xfrm>
              <a:off x="12773234" y="761759"/>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sz="1800"/>
            </a:p>
          </p:txBody>
        </p:sp>
        <p:sp>
          <p:nvSpPr>
            <p:cNvPr id="62" name="Freihandform: Form 22">
              <a:extLst>
                <a:ext uri="{FF2B5EF4-FFF2-40B4-BE49-F238E27FC236}">
                  <a16:creationId xmlns:a16="http://schemas.microsoft.com/office/drawing/2014/main" id="{7B89D0AC-8D66-790F-85D7-5F46311946FC}"/>
                </a:ext>
              </a:extLst>
            </p:cNvPr>
            <p:cNvSpPr/>
            <p:nvPr/>
          </p:nvSpPr>
          <p:spPr>
            <a:xfrm>
              <a:off x="12930218" y="808273"/>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sz="1800"/>
            </a:p>
          </p:txBody>
        </p:sp>
        <p:sp>
          <p:nvSpPr>
            <p:cNvPr id="63" name="Freihandform: Form 23">
              <a:extLst>
                <a:ext uri="{FF2B5EF4-FFF2-40B4-BE49-F238E27FC236}">
                  <a16:creationId xmlns:a16="http://schemas.microsoft.com/office/drawing/2014/main" id="{2F7A0FC4-6F4B-F912-7B5B-9138AF5EA129}"/>
                </a:ext>
              </a:extLst>
            </p:cNvPr>
            <p:cNvSpPr/>
            <p:nvPr/>
          </p:nvSpPr>
          <p:spPr>
            <a:xfrm>
              <a:off x="12910626"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sz="1800"/>
            </a:p>
          </p:txBody>
        </p:sp>
        <p:sp>
          <p:nvSpPr>
            <p:cNvPr id="64" name="Freihandform: Form 24">
              <a:extLst>
                <a:ext uri="{FF2B5EF4-FFF2-40B4-BE49-F238E27FC236}">
                  <a16:creationId xmlns:a16="http://schemas.microsoft.com/office/drawing/2014/main" id="{EEE117C7-EAFF-2309-94B5-E0EF0D12D5AC}"/>
                </a:ext>
              </a:extLst>
            </p:cNvPr>
            <p:cNvSpPr/>
            <p:nvPr/>
          </p:nvSpPr>
          <p:spPr>
            <a:xfrm>
              <a:off x="12910626"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sz="1800"/>
            </a:p>
          </p:txBody>
        </p:sp>
      </p:grpSp>
      <p:sp>
        <p:nvSpPr>
          <p:cNvPr id="3" name="Rectangle 2">
            <a:extLst>
              <a:ext uri="{FF2B5EF4-FFF2-40B4-BE49-F238E27FC236}">
                <a16:creationId xmlns:a16="http://schemas.microsoft.com/office/drawing/2014/main" id="{C71F3876-8577-AE1B-F866-D64C5DCF54BA}"/>
              </a:ext>
            </a:extLst>
          </p:cNvPr>
          <p:cNvSpPr/>
          <p:nvPr userDrawn="1"/>
        </p:nvSpPr>
        <p:spPr>
          <a:xfrm>
            <a:off x="536575" y="1447800"/>
            <a:ext cx="5416550" cy="475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35000"/>
              </a:lnSpc>
            </a:pPr>
            <a:r>
              <a:rPr lang="de-DE" sz="800" b="1">
                <a:solidFill>
                  <a:schemeClr val="bg1"/>
                </a:solidFill>
                <a:latin typeface="+mj-lt"/>
              </a:rPr>
              <a:t>Rechtsbelehrung</a:t>
            </a:r>
          </a:p>
          <a:p>
            <a:pPr>
              <a:lnSpc>
                <a:spcPct val="135000"/>
              </a:lnSpc>
            </a:pPr>
            <a:r>
              <a:rPr lang="de-DE" sz="800" b="0">
                <a:solidFill>
                  <a:schemeClr val="bg1"/>
                </a:solidFill>
                <a:latin typeface="+mn-lt"/>
              </a:rPr>
              <a:t>Die von byte – Bayerische Agentur für Digitales (byte) erbrachten Dienstleistungen und Dokumente unterliegen den Allgemeinen Geschäftsbedingungen von byte, oder einer anderen Vereinbarung, die zuvor von byte abgeschlossen wurde. byte bietet keine Rechts-, Buchhaltungs- oder Steuerberatung an. Der Kunde ist dafür verantwortlich, sich in diesen Bereichen unabhängig beraten zu lassen und ggf. an byte Informationen zu teilen, die die von byte zu erbringen Dienstleistungen beeinflussen. </a:t>
            </a:r>
          </a:p>
          <a:p>
            <a:pPr>
              <a:lnSpc>
                <a:spcPct val="135000"/>
              </a:lnSpc>
            </a:pPr>
            <a:endParaRPr lang="de-DE" sz="800" b="0">
              <a:solidFill>
                <a:schemeClr val="bg1"/>
              </a:solidFill>
              <a:latin typeface="+mn-lt"/>
            </a:endParaRPr>
          </a:p>
          <a:p>
            <a:pPr>
              <a:lnSpc>
                <a:spcPct val="135000"/>
              </a:lnSpc>
            </a:pPr>
            <a:r>
              <a:rPr lang="de-DE" sz="800" b="0">
                <a:solidFill>
                  <a:schemeClr val="bg1"/>
                </a:solidFill>
                <a:latin typeface="+mn-lt"/>
              </a:rPr>
              <a:t>Die in dieser Präsentation enthaltenen Informationen und Empfehlungen sind ausschließlich für die Verwendung durch das Führungspersonal des Projektkunden und nur für die in der Präsentation beschriebenen Zwecke bestimmt. Die Materialien dürfen ohne vorherige schriftliche Zustimmung von byte weder kopiert noch an andere Personen oder Dritte weitergegeben werden. </a:t>
            </a:r>
          </a:p>
          <a:p>
            <a:pPr>
              <a:lnSpc>
                <a:spcPct val="135000"/>
              </a:lnSpc>
            </a:pPr>
            <a:endParaRPr lang="de-DE" sz="800" b="0">
              <a:solidFill>
                <a:schemeClr val="bg1"/>
              </a:solidFill>
              <a:latin typeface="+mn-lt"/>
            </a:endParaRPr>
          </a:p>
          <a:p>
            <a:pPr>
              <a:lnSpc>
                <a:spcPct val="135000"/>
              </a:lnSpc>
            </a:pPr>
            <a:r>
              <a:rPr lang="de-DE" sz="800" b="0">
                <a:solidFill>
                  <a:schemeClr val="bg1"/>
                </a:solidFill>
                <a:latin typeface="+mn-lt"/>
              </a:rPr>
              <a:t>Die Unterlagen erfüllen lediglich den Zweck einer Diskussion; sie sind ohne den begleitenden mündlichen Kommentar unvollständig und dürfen nicht als eigenständiges Dokument herangezogen werden. Darüber hinaus dürfen sich Dritte zu keinem Zweck auf diese Unterlagen stützen. Soweit gesetzlich zulässig (und sofern nicht in einem von byte unterzeichneten Schreiben anders vereinbart), übernimmt byte keinerlei Haftung gegenüber Dritten, und Dritte verzichten hiermit auf alle Rechte und Ansprüche, die sie zu irgendeinem Zeitpunkt gegenüber byte in Bezug auf die Dienstleistungen, diese Präsentation oder andere Materialien, einschließlich der Richtigkeit oder Vollständigkeit, haben könnten. Die Entgegennahme und Prüfung dieses Dokuments gilt als Zustimmung und Gegenleistung zu den vorstehenden Ausführungen.</a:t>
            </a:r>
          </a:p>
          <a:p>
            <a:pPr>
              <a:lnSpc>
                <a:spcPct val="135000"/>
              </a:lnSpc>
            </a:pPr>
            <a:endParaRPr lang="de-DE" sz="800" b="0">
              <a:solidFill>
                <a:schemeClr val="bg1"/>
              </a:solidFill>
              <a:latin typeface="+mn-lt"/>
            </a:endParaRPr>
          </a:p>
          <a:p>
            <a:pPr>
              <a:lnSpc>
                <a:spcPct val="135000"/>
              </a:lnSpc>
            </a:pPr>
            <a:r>
              <a:rPr lang="de-DE" sz="800" b="0">
                <a:solidFill>
                  <a:schemeClr val="bg1"/>
                </a:solidFill>
                <a:latin typeface="+mn-lt"/>
              </a:rPr>
              <a:t>byte hat öffentliche und/oder vertrauliche Daten und Annahmen verwendet, die byte vom Auftraggeber zur Verfügung gestellt wurden. byte hat die in diesen Analysen verwendeten Daten und Annahmen nicht unabhängig überprüft. Änderungen der zugrundeliegenden Daten oder Annahmen wirken sich auf die Analysen und Schlussfolgerungen aus.</a:t>
            </a:r>
          </a:p>
        </p:txBody>
      </p:sp>
    </p:spTree>
    <p:extLst>
      <p:ext uri="{BB962C8B-B14F-4D97-AF65-F5344CB8AC3E}">
        <p14:creationId xmlns:p14="http://schemas.microsoft.com/office/powerpoint/2010/main" val="41382959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sclaimer_hell">
    <p:spTree>
      <p:nvGrpSpPr>
        <p:cNvPr id="1" name=""/>
        <p:cNvGrpSpPr/>
        <p:nvPr/>
      </p:nvGrpSpPr>
      <p:grpSpPr>
        <a:xfrm>
          <a:off x="0" y="0"/>
          <a:ext cx="0" cy="0"/>
          <a:chOff x="0" y="0"/>
          <a:chExt cx="0" cy="0"/>
        </a:xfrm>
      </p:grpSpPr>
      <p:sp>
        <p:nvSpPr>
          <p:cNvPr id="132" name="Footer Placeholder 131">
            <a:extLst>
              <a:ext uri="{FF2B5EF4-FFF2-40B4-BE49-F238E27FC236}">
                <a16:creationId xmlns:a16="http://schemas.microsoft.com/office/drawing/2014/main" id="{92283F9F-9B93-E558-36A0-C2C35AC85329}"/>
              </a:ext>
            </a:extLst>
          </p:cNvPr>
          <p:cNvSpPr>
            <a:spLocks noGrp="1"/>
          </p:cNvSpPr>
          <p:nvPr>
            <p:ph type="ftr" sz="quarter" idx="10"/>
          </p:nvPr>
        </p:nvSpPr>
        <p:spPr/>
        <p:txBody>
          <a:bodyPr/>
          <a:lstStyle/>
          <a:p>
            <a:r>
              <a:rPr lang="en-GB"/>
              <a:t>byte – Bayerische Agentur für Digitales</a:t>
            </a:r>
          </a:p>
        </p:txBody>
      </p:sp>
      <p:sp>
        <p:nvSpPr>
          <p:cNvPr id="133" name="Slide Number Placeholder 132">
            <a:extLst>
              <a:ext uri="{FF2B5EF4-FFF2-40B4-BE49-F238E27FC236}">
                <a16:creationId xmlns:a16="http://schemas.microsoft.com/office/drawing/2014/main" id="{9320A7EA-7090-3525-8A87-FECDD40C4AFE}"/>
              </a:ext>
            </a:extLst>
          </p:cNvPr>
          <p:cNvSpPr>
            <a:spLocks noGrp="1"/>
          </p:cNvSpPr>
          <p:nvPr>
            <p:ph type="sldNum" sz="quarter" idx="11"/>
          </p:nvPr>
        </p:nvSpPr>
        <p:spPr/>
        <p:txBody>
          <a:bodyPr/>
          <a:lstStyle/>
          <a:p>
            <a:fld id="{0016BBAD-09BD-6243-A9CA-D1F4B193196B}" type="slidenum">
              <a:rPr lang="en-GB" smtClean="0"/>
              <a:pPr/>
              <a:t>‹Nr.›</a:t>
            </a:fld>
            <a:endParaRPr lang="en-GB"/>
          </a:p>
        </p:txBody>
      </p:sp>
      <p:sp>
        <p:nvSpPr>
          <p:cNvPr id="2" name="Rectangle 1">
            <a:extLst>
              <a:ext uri="{FF2B5EF4-FFF2-40B4-BE49-F238E27FC236}">
                <a16:creationId xmlns:a16="http://schemas.microsoft.com/office/drawing/2014/main" id="{20EA62BF-63FE-8AD8-5BD9-84074A10CE0B}"/>
              </a:ext>
            </a:extLst>
          </p:cNvPr>
          <p:cNvSpPr/>
          <p:nvPr userDrawn="1"/>
        </p:nvSpPr>
        <p:spPr>
          <a:xfrm>
            <a:off x="536575" y="1447800"/>
            <a:ext cx="5416550" cy="475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35000"/>
              </a:lnSpc>
            </a:pPr>
            <a:r>
              <a:rPr lang="de-DE" sz="800" b="1">
                <a:solidFill>
                  <a:schemeClr val="tx1"/>
                </a:solidFill>
                <a:latin typeface="+mj-lt"/>
              </a:rPr>
              <a:t>Rechtsbelehrung</a:t>
            </a:r>
          </a:p>
          <a:p>
            <a:pPr>
              <a:lnSpc>
                <a:spcPct val="135000"/>
              </a:lnSpc>
            </a:pPr>
            <a:r>
              <a:rPr lang="de-DE" sz="800" b="0">
                <a:solidFill>
                  <a:schemeClr val="tx1"/>
                </a:solidFill>
                <a:latin typeface="+mn-lt"/>
              </a:rPr>
              <a:t>Die von byte – Bayerische Agentur für Digitales (byte) erbrachten Dienstleistungen und Dokumente unterliegen den Allgemeinen Geschäftsbedingungen von byte, oder einer anderen Vereinbarung, die zuvor von byte abgeschlossen wurde. byte bietet keine Rechts-, Buchhaltungs- oder Steuerberatung an. Der Kunde ist dafür verantwortlich, sich in diesen Bereichen unabhängig beraten zu lassen und ggf. an byte Informationen zu teilen, die die von byte zu erbringen Dienstleistungen beeinflussen. </a:t>
            </a:r>
          </a:p>
          <a:p>
            <a:pPr>
              <a:lnSpc>
                <a:spcPct val="135000"/>
              </a:lnSpc>
            </a:pPr>
            <a:endParaRPr lang="de-DE" sz="800" b="0">
              <a:solidFill>
                <a:schemeClr val="tx1"/>
              </a:solidFill>
              <a:latin typeface="+mn-lt"/>
            </a:endParaRPr>
          </a:p>
          <a:p>
            <a:pPr>
              <a:lnSpc>
                <a:spcPct val="135000"/>
              </a:lnSpc>
            </a:pPr>
            <a:r>
              <a:rPr lang="de-DE" sz="800" b="0">
                <a:solidFill>
                  <a:schemeClr val="tx1"/>
                </a:solidFill>
                <a:latin typeface="+mn-lt"/>
              </a:rPr>
              <a:t>Die in dieser Präsentation enthaltenen Informationen und Empfehlungen sind ausschließlich für die Verwendung durch das Führungspersonal des Projektkunden und nur für die in der Präsentation beschriebenen Zwecke bestimmt. Die Materialien dürfen ohne vorherige schriftliche Zustimmung von byte weder kopiert noch an andere Personen oder Dritte weitergegeben werden. </a:t>
            </a:r>
          </a:p>
          <a:p>
            <a:pPr>
              <a:lnSpc>
                <a:spcPct val="135000"/>
              </a:lnSpc>
            </a:pPr>
            <a:endParaRPr lang="de-DE" sz="800" b="0">
              <a:solidFill>
                <a:schemeClr val="tx1"/>
              </a:solidFill>
              <a:latin typeface="+mn-lt"/>
            </a:endParaRPr>
          </a:p>
          <a:p>
            <a:pPr>
              <a:lnSpc>
                <a:spcPct val="135000"/>
              </a:lnSpc>
            </a:pPr>
            <a:r>
              <a:rPr lang="de-DE" sz="800" b="0">
                <a:solidFill>
                  <a:schemeClr val="tx1"/>
                </a:solidFill>
                <a:latin typeface="+mn-lt"/>
              </a:rPr>
              <a:t>Die Unterlagen erfüllen lediglich den Zweck einer Diskussion; sie sind ohne den begleitenden mündlichen Kommentar unvollständig und dürfen nicht als eigenständiges Dokument herangezogen werden. Darüber hinaus dürfen sich Dritte zu keinem Zweck auf diese Unterlagen stützen. Soweit gesetzlich zulässig (und sofern nicht in einem von byte unterzeichneten Schreiben anders vereinbart), übernimmt byte keinerlei Haftung gegenüber Dritten, und Dritte verzichten hiermit auf alle Rechte und Ansprüche, die sie zu irgendeinem Zeitpunkt gegenüber byte in Bezug auf die Dienstleistungen, diese Präsentation oder andere Materialien, einschließlich der Richtigkeit oder Vollständigkeit, haben könnten. Die Entgegennahme und Prüfung dieses Dokuments gilt als Zustimmung und Gegenleistung zu den vorstehenden Ausführungen.</a:t>
            </a:r>
          </a:p>
          <a:p>
            <a:pPr>
              <a:lnSpc>
                <a:spcPct val="135000"/>
              </a:lnSpc>
            </a:pPr>
            <a:endParaRPr lang="de-DE" sz="800" b="0">
              <a:solidFill>
                <a:schemeClr val="tx1"/>
              </a:solidFill>
              <a:latin typeface="+mn-lt"/>
            </a:endParaRPr>
          </a:p>
          <a:p>
            <a:pPr>
              <a:lnSpc>
                <a:spcPct val="135000"/>
              </a:lnSpc>
            </a:pPr>
            <a:r>
              <a:rPr lang="de-DE" sz="800" b="0">
                <a:solidFill>
                  <a:schemeClr val="tx1"/>
                </a:solidFill>
                <a:latin typeface="+mn-lt"/>
              </a:rPr>
              <a:t>byte hat öffentliche und/oder vertrauliche Daten und Annahmen verwendet, die byte vom Auftraggeber zur Verfügung gestellt wurden. byte hat die in diesen Analysen verwendeten Daten und Annahmen nicht unabhängig überprüft. Änderungen der zugrundeliegenden Daten oder Annahmen wirken sich auf die Analysen und Schlussfolgerungen aus.</a:t>
            </a:r>
          </a:p>
        </p:txBody>
      </p:sp>
      <p:pic>
        <p:nvPicPr>
          <p:cNvPr id="3" name="Grafik 5">
            <a:extLst>
              <a:ext uri="{FF2B5EF4-FFF2-40B4-BE49-F238E27FC236}">
                <a16:creationId xmlns:a16="http://schemas.microsoft.com/office/drawing/2014/main" id="{0A664EEC-2812-CCD0-3199-5E247FD14D2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478277" y="451568"/>
            <a:ext cx="5521636" cy="5749208"/>
          </a:xfrm>
          <a:prstGeom prst="rect">
            <a:avLst/>
          </a:prstGeom>
        </p:spPr>
      </p:pic>
      <p:pic>
        <p:nvPicPr>
          <p:cNvPr id="4" name="Graphic 3">
            <a:extLst>
              <a:ext uri="{FF2B5EF4-FFF2-40B4-BE49-F238E27FC236}">
                <a16:creationId xmlns:a16="http://schemas.microsoft.com/office/drawing/2014/main" id="{C53B800D-906B-41AD-459C-01DE3023F147}"/>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98598" y="156539"/>
            <a:ext cx="856828" cy="1040435"/>
          </a:xfrm>
          <a:prstGeom prst="rect">
            <a:avLst/>
          </a:prstGeom>
        </p:spPr>
      </p:pic>
    </p:spTree>
    <p:extLst>
      <p:ext uri="{BB962C8B-B14F-4D97-AF65-F5344CB8AC3E}">
        <p14:creationId xmlns:p14="http://schemas.microsoft.com/office/powerpoint/2010/main" val="36356812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mpressum_dunke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716BE7A-A5F5-C3F0-7C38-1866554B0342}"/>
              </a:ext>
            </a:extLst>
          </p:cNvPr>
          <p:cNvSpPr/>
          <p:nvPr userDrawn="1"/>
        </p:nvSpPr>
        <p:spPr>
          <a:xfrm>
            <a:off x="0" y="1"/>
            <a:ext cx="12192000" cy="5013324"/>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7" name="Footer Placeholder 6">
            <a:extLst>
              <a:ext uri="{FF2B5EF4-FFF2-40B4-BE49-F238E27FC236}">
                <a16:creationId xmlns:a16="http://schemas.microsoft.com/office/drawing/2014/main" id="{25F85490-EE4F-FED0-DEB1-1DB7559758F1}"/>
              </a:ext>
            </a:extLst>
          </p:cNvPr>
          <p:cNvSpPr>
            <a:spLocks noGrp="1"/>
          </p:cNvSpPr>
          <p:nvPr>
            <p:ph type="ftr" sz="quarter" idx="10"/>
          </p:nvPr>
        </p:nvSpPr>
        <p:spPr/>
        <p:txBody>
          <a:bodyPr/>
          <a:lstStyle/>
          <a:p>
            <a:r>
              <a:rPr lang="en-GB"/>
              <a:t>byte – Bayerische Agentur für Digitales</a:t>
            </a:r>
          </a:p>
        </p:txBody>
      </p:sp>
      <p:sp>
        <p:nvSpPr>
          <p:cNvPr id="12" name="Slide Number Placeholder 11">
            <a:extLst>
              <a:ext uri="{FF2B5EF4-FFF2-40B4-BE49-F238E27FC236}">
                <a16:creationId xmlns:a16="http://schemas.microsoft.com/office/drawing/2014/main" id="{02BEF5A0-6467-83E5-193C-FD043A89A6B5}"/>
              </a:ext>
            </a:extLst>
          </p:cNvPr>
          <p:cNvSpPr>
            <a:spLocks noGrp="1"/>
          </p:cNvSpPr>
          <p:nvPr>
            <p:ph type="sldNum" sz="quarter" idx="11"/>
          </p:nvPr>
        </p:nvSpPr>
        <p:spPr/>
        <p:txBody>
          <a:bodyPr/>
          <a:lstStyle/>
          <a:p>
            <a:fld id="{0016BBAD-09BD-6243-A9CA-D1F4B193196B}" type="slidenum">
              <a:rPr lang="en-GB" smtClean="0"/>
              <a:pPr/>
              <a:t>‹Nr.›</a:t>
            </a:fld>
            <a:endParaRPr lang="en-GB"/>
          </a:p>
        </p:txBody>
      </p:sp>
      <p:grpSp>
        <p:nvGrpSpPr>
          <p:cNvPr id="4" name="Gruppieren 7">
            <a:extLst>
              <a:ext uri="{FF2B5EF4-FFF2-40B4-BE49-F238E27FC236}">
                <a16:creationId xmlns:a16="http://schemas.microsoft.com/office/drawing/2014/main" id="{758DC734-A695-B001-3F2B-2E8A832E2855}"/>
              </a:ext>
            </a:extLst>
          </p:cNvPr>
          <p:cNvGrpSpPr/>
          <p:nvPr userDrawn="1"/>
        </p:nvGrpSpPr>
        <p:grpSpPr>
          <a:xfrm>
            <a:off x="10798598" y="155483"/>
            <a:ext cx="856827" cy="1041492"/>
            <a:chOff x="12265626" y="195630"/>
            <a:chExt cx="884395" cy="1075002"/>
          </a:xfrm>
        </p:grpSpPr>
        <p:sp>
          <p:nvSpPr>
            <p:cNvPr id="5" name="Freihandform: Form 8">
              <a:extLst>
                <a:ext uri="{FF2B5EF4-FFF2-40B4-BE49-F238E27FC236}">
                  <a16:creationId xmlns:a16="http://schemas.microsoft.com/office/drawing/2014/main" id="{9F5710B8-D6C3-CFC8-01F1-3EF5D2FE2263}"/>
                </a:ext>
              </a:extLst>
            </p:cNvPr>
            <p:cNvSpPr/>
            <p:nvPr/>
          </p:nvSpPr>
          <p:spPr>
            <a:xfrm>
              <a:off x="12265626" y="195630"/>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sz="1800"/>
            </a:p>
          </p:txBody>
        </p:sp>
        <p:sp>
          <p:nvSpPr>
            <p:cNvPr id="8" name="Freihandform: Form 9">
              <a:extLst>
                <a:ext uri="{FF2B5EF4-FFF2-40B4-BE49-F238E27FC236}">
                  <a16:creationId xmlns:a16="http://schemas.microsoft.com/office/drawing/2014/main" id="{1EE2AA6D-6A89-C9FA-3BCA-65CFBC9412E1}"/>
                </a:ext>
              </a:extLst>
            </p:cNvPr>
            <p:cNvSpPr/>
            <p:nvPr/>
          </p:nvSpPr>
          <p:spPr>
            <a:xfrm>
              <a:off x="12793204"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sz="1800"/>
            </a:p>
          </p:txBody>
        </p:sp>
        <p:sp>
          <p:nvSpPr>
            <p:cNvPr id="9" name="Freihandform: Form 10">
              <a:extLst>
                <a:ext uri="{FF2B5EF4-FFF2-40B4-BE49-F238E27FC236}">
                  <a16:creationId xmlns:a16="http://schemas.microsoft.com/office/drawing/2014/main" id="{8FBA8CE1-17C2-5034-E8D5-7CB108DA9048}"/>
                </a:ext>
              </a:extLst>
            </p:cNvPr>
            <p:cNvSpPr/>
            <p:nvPr/>
          </p:nvSpPr>
          <p:spPr>
            <a:xfrm>
              <a:off x="12910626" y="546759"/>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sz="1800"/>
            </a:p>
          </p:txBody>
        </p:sp>
        <p:sp>
          <p:nvSpPr>
            <p:cNvPr id="10" name="Freihandform: Form 12">
              <a:extLst>
                <a:ext uri="{FF2B5EF4-FFF2-40B4-BE49-F238E27FC236}">
                  <a16:creationId xmlns:a16="http://schemas.microsoft.com/office/drawing/2014/main" id="{F15CEF5E-8013-7F32-6D1A-F9BBAA644D6F}"/>
                </a:ext>
              </a:extLst>
            </p:cNvPr>
            <p:cNvSpPr/>
            <p:nvPr/>
          </p:nvSpPr>
          <p:spPr>
            <a:xfrm>
              <a:off x="12675908" y="42946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sz="1800"/>
            </a:p>
          </p:txBody>
        </p:sp>
        <p:sp>
          <p:nvSpPr>
            <p:cNvPr id="11" name="Freihandform: Form 16">
              <a:extLst>
                <a:ext uri="{FF2B5EF4-FFF2-40B4-BE49-F238E27FC236}">
                  <a16:creationId xmlns:a16="http://schemas.microsoft.com/office/drawing/2014/main" id="{051A2DD1-6270-A8BA-9FBF-788E6B26279F}"/>
                </a:ext>
              </a:extLst>
            </p:cNvPr>
            <p:cNvSpPr/>
            <p:nvPr/>
          </p:nvSpPr>
          <p:spPr>
            <a:xfrm>
              <a:off x="12675908"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sz="1800"/>
            </a:p>
          </p:txBody>
        </p:sp>
        <p:grpSp>
          <p:nvGrpSpPr>
            <p:cNvPr id="13" name="Gruppieren 17">
              <a:extLst>
                <a:ext uri="{FF2B5EF4-FFF2-40B4-BE49-F238E27FC236}">
                  <a16:creationId xmlns:a16="http://schemas.microsoft.com/office/drawing/2014/main" id="{6426A7D6-5B2F-D6E7-4787-E49B7CB28481}"/>
                </a:ext>
              </a:extLst>
            </p:cNvPr>
            <p:cNvGrpSpPr/>
            <p:nvPr userDrawn="1"/>
          </p:nvGrpSpPr>
          <p:grpSpPr>
            <a:xfrm>
              <a:off x="12266005" y="1135893"/>
              <a:ext cx="883889" cy="134739"/>
              <a:chOff x="12266005" y="1135893"/>
              <a:chExt cx="883889" cy="134739"/>
            </a:xfrm>
            <a:solidFill>
              <a:schemeClr val="bg1"/>
            </a:solidFill>
          </p:grpSpPr>
          <p:sp>
            <p:nvSpPr>
              <p:cNvPr id="24" name="Freihandform: Form 25">
                <a:extLst>
                  <a:ext uri="{FF2B5EF4-FFF2-40B4-BE49-F238E27FC236}">
                    <a16:creationId xmlns:a16="http://schemas.microsoft.com/office/drawing/2014/main" id="{F8D3266B-BC3D-CB26-D22B-0BCF13F3CEB2}"/>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sz="1800"/>
              </a:p>
            </p:txBody>
          </p:sp>
          <p:sp>
            <p:nvSpPr>
              <p:cNvPr id="25" name="Freihandform: Form 26">
                <a:extLst>
                  <a:ext uri="{FF2B5EF4-FFF2-40B4-BE49-F238E27FC236}">
                    <a16:creationId xmlns:a16="http://schemas.microsoft.com/office/drawing/2014/main" id="{D2BF4F51-82D3-43E2-21B7-87ED0C3B29B1}"/>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sz="1800"/>
              </a:p>
            </p:txBody>
          </p:sp>
          <p:sp>
            <p:nvSpPr>
              <p:cNvPr id="26" name="Freihandform: Form 27">
                <a:extLst>
                  <a:ext uri="{FF2B5EF4-FFF2-40B4-BE49-F238E27FC236}">
                    <a16:creationId xmlns:a16="http://schemas.microsoft.com/office/drawing/2014/main" id="{289B873F-AF7E-A81E-D6CF-AA9E15677625}"/>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sz="1800"/>
              </a:p>
            </p:txBody>
          </p:sp>
          <p:sp>
            <p:nvSpPr>
              <p:cNvPr id="27" name="Freihandform: Form 28">
                <a:extLst>
                  <a:ext uri="{FF2B5EF4-FFF2-40B4-BE49-F238E27FC236}">
                    <a16:creationId xmlns:a16="http://schemas.microsoft.com/office/drawing/2014/main" id="{F818AB6C-097A-B508-47BA-16F3D08EB898}"/>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sz="1800"/>
              </a:p>
            </p:txBody>
          </p:sp>
          <p:sp>
            <p:nvSpPr>
              <p:cNvPr id="28" name="Freihandform: Form 29">
                <a:extLst>
                  <a:ext uri="{FF2B5EF4-FFF2-40B4-BE49-F238E27FC236}">
                    <a16:creationId xmlns:a16="http://schemas.microsoft.com/office/drawing/2014/main" id="{7AA613AD-C69B-2B09-4708-B8FD1CA5DD71}"/>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sz="1800"/>
              </a:p>
            </p:txBody>
          </p:sp>
          <p:sp>
            <p:nvSpPr>
              <p:cNvPr id="29" name="Freihandform: Form 30">
                <a:extLst>
                  <a:ext uri="{FF2B5EF4-FFF2-40B4-BE49-F238E27FC236}">
                    <a16:creationId xmlns:a16="http://schemas.microsoft.com/office/drawing/2014/main" id="{DAE0B54D-5345-2377-5969-CE36274D39EA}"/>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sz="1800"/>
              </a:p>
            </p:txBody>
          </p:sp>
          <p:sp>
            <p:nvSpPr>
              <p:cNvPr id="30" name="Freihandform: Form 31">
                <a:extLst>
                  <a:ext uri="{FF2B5EF4-FFF2-40B4-BE49-F238E27FC236}">
                    <a16:creationId xmlns:a16="http://schemas.microsoft.com/office/drawing/2014/main" id="{99056BBF-6D2A-A94F-95A7-D9EC27F93FEA}"/>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sz="1800"/>
              </a:p>
            </p:txBody>
          </p:sp>
          <p:sp>
            <p:nvSpPr>
              <p:cNvPr id="31" name="Freihandform: Form 32">
                <a:extLst>
                  <a:ext uri="{FF2B5EF4-FFF2-40B4-BE49-F238E27FC236}">
                    <a16:creationId xmlns:a16="http://schemas.microsoft.com/office/drawing/2014/main" id="{9D488920-B09A-2BDA-67B0-4652F28F7F2F}"/>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sz="1800"/>
              </a:p>
            </p:txBody>
          </p:sp>
          <p:sp>
            <p:nvSpPr>
              <p:cNvPr id="32" name="Freihandform: Form 33">
                <a:extLst>
                  <a:ext uri="{FF2B5EF4-FFF2-40B4-BE49-F238E27FC236}">
                    <a16:creationId xmlns:a16="http://schemas.microsoft.com/office/drawing/2014/main" id="{B2CAFA1E-62DD-B142-F6BC-494D3F55A233}"/>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sz="1800"/>
              </a:p>
            </p:txBody>
          </p:sp>
          <p:sp>
            <p:nvSpPr>
              <p:cNvPr id="33" name="Freihandform: Form 34">
                <a:extLst>
                  <a:ext uri="{FF2B5EF4-FFF2-40B4-BE49-F238E27FC236}">
                    <a16:creationId xmlns:a16="http://schemas.microsoft.com/office/drawing/2014/main" id="{1598D88C-B109-B220-EA6A-654702B9FBD8}"/>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sz="1800"/>
              </a:p>
            </p:txBody>
          </p:sp>
          <p:sp>
            <p:nvSpPr>
              <p:cNvPr id="34" name="Freihandform: Form 35">
                <a:extLst>
                  <a:ext uri="{FF2B5EF4-FFF2-40B4-BE49-F238E27FC236}">
                    <a16:creationId xmlns:a16="http://schemas.microsoft.com/office/drawing/2014/main" id="{6AE1CAF6-F91C-E25F-A1D2-E1C009D72ECE}"/>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sz="1800"/>
              </a:p>
            </p:txBody>
          </p:sp>
          <p:sp>
            <p:nvSpPr>
              <p:cNvPr id="35" name="Freihandform: Form 36">
                <a:extLst>
                  <a:ext uri="{FF2B5EF4-FFF2-40B4-BE49-F238E27FC236}">
                    <a16:creationId xmlns:a16="http://schemas.microsoft.com/office/drawing/2014/main" id="{B45E962E-A906-60F7-0249-F3C8D03FC33D}"/>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sz="1800"/>
              </a:p>
            </p:txBody>
          </p:sp>
          <p:sp>
            <p:nvSpPr>
              <p:cNvPr id="36" name="Freihandform: Form 37">
                <a:extLst>
                  <a:ext uri="{FF2B5EF4-FFF2-40B4-BE49-F238E27FC236}">
                    <a16:creationId xmlns:a16="http://schemas.microsoft.com/office/drawing/2014/main" id="{90789F1D-4E5E-B070-9A5D-F0DC7B7FD561}"/>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sz="1800"/>
              </a:p>
            </p:txBody>
          </p:sp>
          <p:sp>
            <p:nvSpPr>
              <p:cNvPr id="37" name="Freihandform: Form 38">
                <a:extLst>
                  <a:ext uri="{FF2B5EF4-FFF2-40B4-BE49-F238E27FC236}">
                    <a16:creationId xmlns:a16="http://schemas.microsoft.com/office/drawing/2014/main" id="{12735B6D-3D87-FF14-1043-77596B58F8B3}"/>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sz="1800"/>
              </a:p>
            </p:txBody>
          </p:sp>
          <p:sp>
            <p:nvSpPr>
              <p:cNvPr id="38" name="Freihandform: Form 39">
                <a:extLst>
                  <a:ext uri="{FF2B5EF4-FFF2-40B4-BE49-F238E27FC236}">
                    <a16:creationId xmlns:a16="http://schemas.microsoft.com/office/drawing/2014/main" id="{54223359-5D29-A791-718F-2D248FEE1EE6}"/>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sz="1800"/>
              </a:p>
            </p:txBody>
          </p:sp>
          <p:sp>
            <p:nvSpPr>
              <p:cNvPr id="39" name="Freihandform: Form 40">
                <a:extLst>
                  <a:ext uri="{FF2B5EF4-FFF2-40B4-BE49-F238E27FC236}">
                    <a16:creationId xmlns:a16="http://schemas.microsoft.com/office/drawing/2014/main" id="{7C546E0B-7E61-31EA-DF47-858553E59ACA}"/>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sz="1800"/>
              </a:p>
            </p:txBody>
          </p:sp>
          <p:sp>
            <p:nvSpPr>
              <p:cNvPr id="40" name="Freihandform: Form 41">
                <a:extLst>
                  <a:ext uri="{FF2B5EF4-FFF2-40B4-BE49-F238E27FC236}">
                    <a16:creationId xmlns:a16="http://schemas.microsoft.com/office/drawing/2014/main" id="{8CA3777E-C37B-431F-210E-BF86E18F0A4F}"/>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sz="1800"/>
              </a:p>
            </p:txBody>
          </p:sp>
          <p:sp>
            <p:nvSpPr>
              <p:cNvPr id="41" name="Freihandform: Form 42">
                <a:extLst>
                  <a:ext uri="{FF2B5EF4-FFF2-40B4-BE49-F238E27FC236}">
                    <a16:creationId xmlns:a16="http://schemas.microsoft.com/office/drawing/2014/main" id="{C30402B0-F2F1-CB12-B942-CE37F0145932}"/>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sz="1800"/>
              </a:p>
            </p:txBody>
          </p:sp>
          <p:sp>
            <p:nvSpPr>
              <p:cNvPr id="42" name="Freihandform: Form 43">
                <a:extLst>
                  <a:ext uri="{FF2B5EF4-FFF2-40B4-BE49-F238E27FC236}">
                    <a16:creationId xmlns:a16="http://schemas.microsoft.com/office/drawing/2014/main" id="{2431A0D3-6C41-E774-37AA-452AF90F894D}"/>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sz="1800"/>
              </a:p>
            </p:txBody>
          </p:sp>
          <p:sp>
            <p:nvSpPr>
              <p:cNvPr id="43" name="Freihandform: Form 44">
                <a:extLst>
                  <a:ext uri="{FF2B5EF4-FFF2-40B4-BE49-F238E27FC236}">
                    <a16:creationId xmlns:a16="http://schemas.microsoft.com/office/drawing/2014/main" id="{36DE5FEB-C174-5E0D-C3AB-4FA90D92FA72}"/>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sz="1800"/>
              </a:p>
            </p:txBody>
          </p:sp>
          <p:sp>
            <p:nvSpPr>
              <p:cNvPr id="44" name="Freihandform: Form 45">
                <a:extLst>
                  <a:ext uri="{FF2B5EF4-FFF2-40B4-BE49-F238E27FC236}">
                    <a16:creationId xmlns:a16="http://schemas.microsoft.com/office/drawing/2014/main" id="{427A4396-716D-C37F-39DC-4D23E1A471DE}"/>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sz="1800"/>
              </a:p>
            </p:txBody>
          </p:sp>
          <p:sp>
            <p:nvSpPr>
              <p:cNvPr id="45" name="Freihandform: Form 46">
                <a:extLst>
                  <a:ext uri="{FF2B5EF4-FFF2-40B4-BE49-F238E27FC236}">
                    <a16:creationId xmlns:a16="http://schemas.microsoft.com/office/drawing/2014/main" id="{87D03522-47BB-A2E9-7A5D-36783696DD32}"/>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sz="1800"/>
              </a:p>
            </p:txBody>
          </p:sp>
          <p:sp>
            <p:nvSpPr>
              <p:cNvPr id="46" name="Freihandform: Form 47">
                <a:extLst>
                  <a:ext uri="{FF2B5EF4-FFF2-40B4-BE49-F238E27FC236}">
                    <a16:creationId xmlns:a16="http://schemas.microsoft.com/office/drawing/2014/main" id="{3DB85125-0F77-CE8C-6EDD-23D5AE13C1D3}"/>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sz="1800"/>
              </a:p>
            </p:txBody>
          </p:sp>
          <p:sp>
            <p:nvSpPr>
              <p:cNvPr id="47" name="Freihandform: Form 48">
                <a:extLst>
                  <a:ext uri="{FF2B5EF4-FFF2-40B4-BE49-F238E27FC236}">
                    <a16:creationId xmlns:a16="http://schemas.microsoft.com/office/drawing/2014/main" id="{F786C9A9-7349-6B71-6FBF-67DAC9583C69}"/>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sz="1800"/>
              </a:p>
            </p:txBody>
          </p:sp>
          <p:sp>
            <p:nvSpPr>
              <p:cNvPr id="48" name="Freihandform: Form 49">
                <a:extLst>
                  <a:ext uri="{FF2B5EF4-FFF2-40B4-BE49-F238E27FC236}">
                    <a16:creationId xmlns:a16="http://schemas.microsoft.com/office/drawing/2014/main" id="{407B1524-A256-100C-4072-CB13DB865ABB}"/>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sz="1800"/>
              </a:p>
            </p:txBody>
          </p:sp>
          <p:sp>
            <p:nvSpPr>
              <p:cNvPr id="49" name="Freihandform: Form 50">
                <a:extLst>
                  <a:ext uri="{FF2B5EF4-FFF2-40B4-BE49-F238E27FC236}">
                    <a16:creationId xmlns:a16="http://schemas.microsoft.com/office/drawing/2014/main" id="{73F3B79B-8BBE-59BD-B82E-38536760E715}"/>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sz="1800"/>
              </a:p>
            </p:txBody>
          </p:sp>
          <p:sp>
            <p:nvSpPr>
              <p:cNvPr id="50" name="Freihandform: Form 51">
                <a:extLst>
                  <a:ext uri="{FF2B5EF4-FFF2-40B4-BE49-F238E27FC236}">
                    <a16:creationId xmlns:a16="http://schemas.microsoft.com/office/drawing/2014/main" id="{86A6AB82-40B8-A816-0F5B-4C0D62DDA966}"/>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sz="1800"/>
              </a:p>
            </p:txBody>
          </p:sp>
          <p:sp>
            <p:nvSpPr>
              <p:cNvPr id="51" name="Freihandform: Form 52">
                <a:extLst>
                  <a:ext uri="{FF2B5EF4-FFF2-40B4-BE49-F238E27FC236}">
                    <a16:creationId xmlns:a16="http://schemas.microsoft.com/office/drawing/2014/main" id="{269210F9-090C-CDD4-09FC-4C66BE810ABE}"/>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sz="1800"/>
              </a:p>
            </p:txBody>
          </p:sp>
          <p:sp>
            <p:nvSpPr>
              <p:cNvPr id="52" name="Freihandform: Form 53">
                <a:extLst>
                  <a:ext uri="{FF2B5EF4-FFF2-40B4-BE49-F238E27FC236}">
                    <a16:creationId xmlns:a16="http://schemas.microsoft.com/office/drawing/2014/main" id="{13D4F535-5B3A-3AED-DB5D-38E133A77A9A}"/>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sz="1800"/>
              </a:p>
            </p:txBody>
          </p:sp>
        </p:grpSp>
        <p:sp>
          <p:nvSpPr>
            <p:cNvPr id="17" name="Freihandform: Form 18">
              <a:extLst>
                <a:ext uri="{FF2B5EF4-FFF2-40B4-BE49-F238E27FC236}">
                  <a16:creationId xmlns:a16="http://schemas.microsoft.com/office/drawing/2014/main" id="{069CBE73-347E-02D7-C722-45F60268A59F}"/>
                </a:ext>
              </a:extLst>
            </p:cNvPr>
            <p:cNvSpPr/>
            <p:nvPr/>
          </p:nvSpPr>
          <p:spPr>
            <a:xfrm>
              <a:off x="12334891" y="759990"/>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sz="1800"/>
            </a:p>
          </p:txBody>
        </p:sp>
        <p:sp>
          <p:nvSpPr>
            <p:cNvPr id="18" name="Freihandform: Form 19">
              <a:extLst>
                <a:ext uri="{FF2B5EF4-FFF2-40B4-BE49-F238E27FC236}">
                  <a16:creationId xmlns:a16="http://schemas.microsoft.com/office/drawing/2014/main" id="{D5E2E00A-34D0-2597-F7A6-2B560903147F}"/>
                </a:ext>
              </a:extLst>
            </p:cNvPr>
            <p:cNvSpPr/>
            <p:nvPr/>
          </p:nvSpPr>
          <p:spPr>
            <a:xfrm>
              <a:off x="12553430" y="808779"/>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sz="1800"/>
            </a:p>
          </p:txBody>
        </p:sp>
        <p:sp>
          <p:nvSpPr>
            <p:cNvPr id="19" name="Freihandform: Form 20">
              <a:extLst>
                <a:ext uri="{FF2B5EF4-FFF2-40B4-BE49-F238E27FC236}">
                  <a16:creationId xmlns:a16="http://schemas.microsoft.com/office/drawing/2014/main" id="{729BB041-9515-1DD6-E23D-38B1540F3639}"/>
                </a:ext>
              </a:extLst>
            </p:cNvPr>
            <p:cNvSpPr/>
            <p:nvPr/>
          </p:nvSpPr>
          <p:spPr>
            <a:xfrm>
              <a:off x="12773234" y="761759"/>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sz="1800"/>
            </a:p>
          </p:txBody>
        </p:sp>
        <p:sp>
          <p:nvSpPr>
            <p:cNvPr id="20" name="Freihandform: Form 22">
              <a:extLst>
                <a:ext uri="{FF2B5EF4-FFF2-40B4-BE49-F238E27FC236}">
                  <a16:creationId xmlns:a16="http://schemas.microsoft.com/office/drawing/2014/main" id="{C74B7ABB-5226-29C6-9029-F70D1FA08009}"/>
                </a:ext>
              </a:extLst>
            </p:cNvPr>
            <p:cNvSpPr/>
            <p:nvPr/>
          </p:nvSpPr>
          <p:spPr>
            <a:xfrm>
              <a:off x="12930218" y="808273"/>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sz="1800"/>
            </a:p>
          </p:txBody>
        </p:sp>
        <p:sp>
          <p:nvSpPr>
            <p:cNvPr id="21" name="Freihandform: Form 23">
              <a:extLst>
                <a:ext uri="{FF2B5EF4-FFF2-40B4-BE49-F238E27FC236}">
                  <a16:creationId xmlns:a16="http://schemas.microsoft.com/office/drawing/2014/main" id="{290B28A5-4427-E261-6C19-750B10BC1453}"/>
                </a:ext>
              </a:extLst>
            </p:cNvPr>
            <p:cNvSpPr/>
            <p:nvPr/>
          </p:nvSpPr>
          <p:spPr>
            <a:xfrm>
              <a:off x="12910626"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sz="1800"/>
            </a:p>
          </p:txBody>
        </p:sp>
        <p:sp>
          <p:nvSpPr>
            <p:cNvPr id="23" name="Freihandform: Form 24">
              <a:extLst>
                <a:ext uri="{FF2B5EF4-FFF2-40B4-BE49-F238E27FC236}">
                  <a16:creationId xmlns:a16="http://schemas.microsoft.com/office/drawing/2014/main" id="{726BE68D-2418-2805-C385-34FC008172E4}"/>
                </a:ext>
              </a:extLst>
            </p:cNvPr>
            <p:cNvSpPr/>
            <p:nvPr/>
          </p:nvSpPr>
          <p:spPr>
            <a:xfrm>
              <a:off x="12910626"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sz="1800"/>
            </a:p>
          </p:txBody>
        </p:sp>
      </p:grpSp>
      <p:sp>
        <p:nvSpPr>
          <p:cNvPr id="53" name="Rectangle 52">
            <a:extLst>
              <a:ext uri="{FF2B5EF4-FFF2-40B4-BE49-F238E27FC236}">
                <a16:creationId xmlns:a16="http://schemas.microsoft.com/office/drawing/2014/main" id="{F98A4068-B296-A45B-B83D-EADF3D867B3B}"/>
              </a:ext>
            </a:extLst>
          </p:cNvPr>
          <p:cNvSpPr/>
          <p:nvPr userDrawn="1"/>
        </p:nvSpPr>
        <p:spPr>
          <a:xfrm>
            <a:off x="536575" y="1447801"/>
            <a:ext cx="5416550" cy="3168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35000"/>
              </a:lnSpc>
            </a:pPr>
            <a:r>
              <a:rPr lang="de-DE" sz="1100" b="0" err="1">
                <a:solidFill>
                  <a:schemeClr val="bg1"/>
                </a:solidFill>
                <a:latin typeface="+mj-lt"/>
              </a:rPr>
              <a:t>byte</a:t>
            </a:r>
            <a:r>
              <a:rPr lang="de-DE" sz="1100" b="0">
                <a:solidFill>
                  <a:schemeClr val="bg1"/>
                </a:solidFill>
                <a:latin typeface="+mj-lt"/>
              </a:rPr>
              <a:t> - Bayerische Agentur für Digitales GmbH</a:t>
            </a:r>
          </a:p>
          <a:p>
            <a:pPr marL="0" marR="0" indent="0" algn="l" defTabSz="914400" rtl="0" eaLnBrk="1" fontAlgn="auto" latinLnBrk="0" hangingPunct="1">
              <a:lnSpc>
                <a:spcPct val="135000"/>
              </a:lnSpc>
              <a:spcBef>
                <a:spcPts val="0"/>
              </a:spcBef>
              <a:spcAft>
                <a:spcPts val="0"/>
              </a:spcAft>
              <a:buClrTx/>
              <a:buSzTx/>
              <a:buFontTx/>
              <a:buNone/>
              <a:tabLst/>
              <a:defRPr/>
            </a:pPr>
            <a:r>
              <a:rPr lang="de-DE" sz="1100" b="0">
                <a:solidFill>
                  <a:schemeClr val="bg1"/>
                </a:solidFill>
                <a:latin typeface="+mn-lt"/>
              </a:rPr>
              <a:t>Orleansstraße 24</a:t>
            </a:r>
          </a:p>
          <a:p>
            <a:pPr>
              <a:lnSpc>
                <a:spcPct val="135000"/>
              </a:lnSpc>
            </a:pPr>
            <a:r>
              <a:rPr lang="de-DE" sz="1100" b="0">
                <a:solidFill>
                  <a:schemeClr val="bg1"/>
                </a:solidFill>
                <a:latin typeface="+mn-lt"/>
              </a:rPr>
              <a:t>81669 München</a:t>
            </a:r>
          </a:p>
          <a:p>
            <a:pPr>
              <a:lnSpc>
                <a:spcPct val="135000"/>
              </a:lnSpc>
            </a:pPr>
            <a:r>
              <a:rPr lang="de-DE" sz="1100" b="0">
                <a:solidFill>
                  <a:schemeClr val="bg1"/>
                </a:solidFill>
                <a:latin typeface="+mn-lt"/>
              </a:rPr>
              <a:t>Telefon: +49 162 13 49 906</a:t>
            </a:r>
          </a:p>
          <a:p>
            <a:pPr>
              <a:lnSpc>
                <a:spcPct val="135000"/>
              </a:lnSpc>
            </a:pPr>
            <a:r>
              <a:rPr lang="de-DE" sz="1100" b="0">
                <a:solidFill>
                  <a:schemeClr val="bg1"/>
                </a:solidFill>
                <a:latin typeface="+mn-lt"/>
              </a:rPr>
              <a:t>E-Mail: </a:t>
            </a:r>
            <a:r>
              <a:rPr lang="de-DE" sz="1100" b="0">
                <a:solidFill>
                  <a:schemeClr val="tx1"/>
                </a:solidFill>
                <a:latin typeface="+mn-lt"/>
                <a:hlinkClick r:id="rId2"/>
              </a:rPr>
              <a:t>kontakt@byte.bayern</a:t>
            </a:r>
            <a:endParaRPr lang="de-DE" sz="1100" b="0">
              <a:solidFill>
                <a:schemeClr val="tx1"/>
              </a:solidFill>
              <a:latin typeface="+mn-lt"/>
            </a:endParaRPr>
          </a:p>
          <a:p>
            <a:pPr>
              <a:lnSpc>
                <a:spcPct val="135000"/>
              </a:lnSpc>
            </a:pPr>
            <a:r>
              <a:rPr lang="de-DE" sz="1100" b="0">
                <a:solidFill>
                  <a:schemeClr val="bg1"/>
                </a:solidFill>
                <a:latin typeface="+mn-lt"/>
              </a:rPr>
              <a:t>Web: </a:t>
            </a:r>
            <a:r>
              <a:rPr lang="de-DE" sz="1100" b="0">
                <a:solidFill>
                  <a:schemeClr val="tx1"/>
                </a:solidFill>
                <a:latin typeface="+mn-lt"/>
                <a:hlinkClick r:id="rId3"/>
              </a:rPr>
              <a:t>byte.bayern</a:t>
            </a:r>
            <a:endParaRPr lang="de-DE" sz="1100" b="0">
              <a:solidFill>
                <a:schemeClr val="tx1"/>
              </a:solidFill>
              <a:latin typeface="+mn-lt"/>
            </a:endParaRPr>
          </a:p>
          <a:p>
            <a:pPr>
              <a:lnSpc>
                <a:spcPct val="135000"/>
              </a:lnSpc>
            </a:pPr>
            <a:endParaRPr lang="de-DE" sz="1100" b="0">
              <a:solidFill>
                <a:schemeClr val="bg1"/>
              </a:solidFill>
              <a:latin typeface="+mn-lt"/>
            </a:endParaRPr>
          </a:p>
          <a:p>
            <a:pPr>
              <a:lnSpc>
                <a:spcPct val="135000"/>
              </a:lnSpc>
            </a:pPr>
            <a:r>
              <a:rPr lang="de-DE" sz="1100" b="0">
                <a:solidFill>
                  <a:schemeClr val="bg1"/>
                </a:solidFill>
                <a:latin typeface="+mn-lt"/>
              </a:rPr>
              <a:t>Vertretungsberechtigte:</a:t>
            </a:r>
          </a:p>
          <a:p>
            <a:pPr>
              <a:lnSpc>
                <a:spcPct val="135000"/>
              </a:lnSpc>
            </a:pPr>
            <a:r>
              <a:rPr lang="de-DE" sz="1100" b="0">
                <a:solidFill>
                  <a:schemeClr val="bg1"/>
                </a:solidFill>
                <a:latin typeface="+mn-lt"/>
              </a:rPr>
              <a:t>Antonia Zierer (Geschäftsführerin)</a:t>
            </a:r>
          </a:p>
          <a:p>
            <a:pPr>
              <a:lnSpc>
                <a:spcPct val="135000"/>
              </a:lnSpc>
            </a:pPr>
            <a:r>
              <a:rPr lang="de-DE" sz="1100" b="0">
                <a:solidFill>
                  <a:schemeClr val="bg1"/>
                </a:solidFill>
                <a:latin typeface="+mn-lt"/>
              </a:rPr>
              <a:t>Thorsten Kühnel (Geschäftsführer)</a:t>
            </a:r>
          </a:p>
          <a:p>
            <a:pPr>
              <a:lnSpc>
                <a:spcPct val="135000"/>
              </a:lnSpc>
            </a:pPr>
            <a:endParaRPr lang="de-DE" sz="1100" b="0">
              <a:solidFill>
                <a:schemeClr val="bg1"/>
              </a:solidFill>
              <a:latin typeface="+mn-lt"/>
            </a:endParaRPr>
          </a:p>
          <a:p>
            <a:pPr>
              <a:lnSpc>
                <a:spcPct val="135000"/>
              </a:lnSpc>
            </a:pPr>
            <a:r>
              <a:rPr lang="de-DE" sz="1100" b="0">
                <a:solidFill>
                  <a:schemeClr val="bg1"/>
                </a:solidFill>
                <a:latin typeface="+mn-lt"/>
              </a:rPr>
              <a:t>Registergericht: Amtsgericht München, HRB 273196</a:t>
            </a:r>
          </a:p>
        </p:txBody>
      </p:sp>
      <p:pic>
        <p:nvPicPr>
          <p:cNvPr id="54" name="Grafik 5">
            <a:extLst>
              <a:ext uri="{FF2B5EF4-FFF2-40B4-BE49-F238E27FC236}">
                <a16:creationId xmlns:a16="http://schemas.microsoft.com/office/drawing/2014/main" id="{82A2390F-B657-3C03-25AB-23D83F69E5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478277" y="451568"/>
            <a:ext cx="5521636" cy="5749208"/>
          </a:xfrm>
          <a:prstGeom prst="rect">
            <a:avLst/>
          </a:prstGeom>
        </p:spPr>
      </p:pic>
      <p:pic>
        <p:nvPicPr>
          <p:cNvPr id="15" name="Pulse">
            <a:extLst>
              <a:ext uri="{FF2B5EF4-FFF2-40B4-BE49-F238E27FC236}">
                <a16:creationId xmlns:a16="http://schemas.microsoft.com/office/drawing/2014/main" id="{B8084996-9EED-F94C-58D9-ADACD339C0C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58868" y="4583891"/>
            <a:ext cx="10474264" cy="858868"/>
          </a:xfrm>
          <a:prstGeom prst="rect">
            <a:avLst/>
          </a:prstGeom>
        </p:spPr>
      </p:pic>
      <p:sp>
        <p:nvSpPr>
          <p:cNvPr id="3" name="Textfeld 2">
            <a:extLst>
              <a:ext uri="{FF2B5EF4-FFF2-40B4-BE49-F238E27FC236}">
                <a16:creationId xmlns:a16="http://schemas.microsoft.com/office/drawing/2014/main" id="{A4730B25-782F-8B67-B90C-2FCD52395A73}"/>
              </a:ext>
            </a:extLst>
          </p:cNvPr>
          <p:cNvSpPr txBox="1"/>
          <p:nvPr userDrawn="1"/>
        </p:nvSpPr>
        <p:spPr>
          <a:xfrm>
            <a:off x="567397" y="5953827"/>
            <a:ext cx="16129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noProof="0" err="1">
                <a:solidFill>
                  <a:schemeClr val="tx1"/>
                </a:solidFill>
                <a:latin typeface="+mj-lt"/>
              </a:rPr>
              <a:t>byte.bayern</a:t>
            </a:r>
            <a:endParaRPr lang="de-DE" sz="1400" noProof="0">
              <a:solidFill>
                <a:schemeClr val="tx1"/>
              </a:solidFill>
              <a:latin typeface="+mj-lt"/>
            </a:endParaRPr>
          </a:p>
        </p:txBody>
      </p:sp>
      <p:cxnSp>
        <p:nvCxnSpPr>
          <p:cNvPr id="16" name="Gerader Verbinder 13">
            <a:extLst>
              <a:ext uri="{FF2B5EF4-FFF2-40B4-BE49-F238E27FC236}">
                <a16:creationId xmlns:a16="http://schemas.microsoft.com/office/drawing/2014/main" id="{CC4B13A0-E95B-9C3E-2882-85EAFEC87395}"/>
              </a:ext>
            </a:extLst>
          </p:cNvPr>
          <p:cNvCxnSpPr>
            <a:cxnSpLocks/>
          </p:cNvCxnSpPr>
          <p:nvPr userDrawn="1"/>
        </p:nvCxnSpPr>
        <p:spPr>
          <a:xfrm>
            <a:off x="536575" y="6200775"/>
            <a:ext cx="106608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5487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Impressum_hel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76EF873-0EEB-106C-3951-16F47196311D}"/>
              </a:ext>
            </a:extLst>
          </p:cNvPr>
          <p:cNvSpPr/>
          <p:nvPr userDrawn="1"/>
        </p:nvSpPr>
        <p:spPr>
          <a:xfrm>
            <a:off x="0" y="5013325"/>
            <a:ext cx="12192000" cy="1844675"/>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cxnSp>
        <p:nvCxnSpPr>
          <p:cNvPr id="14" name="Gerader Verbinder 13">
            <a:extLst>
              <a:ext uri="{FF2B5EF4-FFF2-40B4-BE49-F238E27FC236}">
                <a16:creationId xmlns:a16="http://schemas.microsoft.com/office/drawing/2014/main" id="{C1C5AE54-951F-6266-B315-8D3BB7762EC0}"/>
              </a:ext>
            </a:extLst>
          </p:cNvPr>
          <p:cNvCxnSpPr>
            <a:cxnSpLocks/>
          </p:cNvCxnSpPr>
          <p:nvPr userDrawn="1"/>
        </p:nvCxnSpPr>
        <p:spPr>
          <a:xfrm>
            <a:off x="536575" y="6200775"/>
            <a:ext cx="106608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Footer Placeholder 92">
            <a:extLst>
              <a:ext uri="{FF2B5EF4-FFF2-40B4-BE49-F238E27FC236}">
                <a16:creationId xmlns:a16="http://schemas.microsoft.com/office/drawing/2014/main" id="{A1C8FFC8-F04E-2625-54C8-9E43387E8552}"/>
              </a:ext>
            </a:extLst>
          </p:cNvPr>
          <p:cNvSpPr>
            <a:spLocks noGrp="1"/>
          </p:cNvSpPr>
          <p:nvPr>
            <p:ph type="ftr" sz="quarter" idx="10"/>
          </p:nvPr>
        </p:nvSpPr>
        <p:spPr/>
        <p:txBody>
          <a:bodyPr/>
          <a:lstStyle>
            <a:lvl1pPr>
              <a:defRPr>
                <a:solidFill>
                  <a:schemeClr val="bg1"/>
                </a:solidFill>
              </a:defRPr>
            </a:lvl1pPr>
          </a:lstStyle>
          <a:p>
            <a:r>
              <a:rPr lang="en-GB"/>
              <a:t>byte – Bayerische Agentur für Digitales</a:t>
            </a:r>
          </a:p>
        </p:txBody>
      </p:sp>
      <p:sp>
        <p:nvSpPr>
          <p:cNvPr id="94" name="Slide Number Placeholder 93">
            <a:extLst>
              <a:ext uri="{FF2B5EF4-FFF2-40B4-BE49-F238E27FC236}">
                <a16:creationId xmlns:a16="http://schemas.microsoft.com/office/drawing/2014/main" id="{1B24892F-BC64-4926-6261-C36F15C628A7}"/>
              </a:ext>
            </a:extLst>
          </p:cNvPr>
          <p:cNvSpPr>
            <a:spLocks noGrp="1"/>
          </p:cNvSpPr>
          <p:nvPr>
            <p:ph type="sldNum" sz="quarter" idx="11"/>
          </p:nvPr>
        </p:nvSpPr>
        <p:spPr/>
        <p:txBody>
          <a:bodyPr/>
          <a:lstStyle>
            <a:lvl1pPr>
              <a:defRPr>
                <a:solidFill>
                  <a:schemeClr val="bg1"/>
                </a:solidFill>
              </a:defRPr>
            </a:lvl1pPr>
          </a:lstStyle>
          <a:p>
            <a:fld id="{0016BBAD-09BD-6243-A9CA-D1F4B193196B}" type="slidenum">
              <a:rPr lang="en-GB" smtClean="0"/>
              <a:pPr/>
              <a:t>‹Nr.›</a:t>
            </a:fld>
            <a:endParaRPr lang="en-GB"/>
          </a:p>
        </p:txBody>
      </p:sp>
      <p:pic>
        <p:nvPicPr>
          <p:cNvPr id="4" name="Graphic 3">
            <a:extLst>
              <a:ext uri="{FF2B5EF4-FFF2-40B4-BE49-F238E27FC236}">
                <a16:creationId xmlns:a16="http://schemas.microsoft.com/office/drawing/2014/main" id="{B1CCB769-873A-6B5E-5B07-16AC2F9A032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798598" y="156539"/>
            <a:ext cx="856828" cy="1040435"/>
          </a:xfrm>
          <a:prstGeom prst="rect">
            <a:avLst/>
          </a:prstGeom>
        </p:spPr>
      </p:pic>
      <p:sp>
        <p:nvSpPr>
          <p:cNvPr id="5" name="Rectangle 4">
            <a:extLst>
              <a:ext uri="{FF2B5EF4-FFF2-40B4-BE49-F238E27FC236}">
                <a16:creationId xmlns:a16="http://schemas.microsoft.com/office/drawing/2014/main" id="{066C7E62-B234-A53F-D6D6-6FEDF03C19B1}"/>
              </a:ext>
            </a:extLst>
          </p:cNvPr>
          <p:cNvSpPr/>
          <p:nvPr userDrawn="1"/>
        </p:nvSpPr>
        <p:spPr>
          <a:xfrm>
            <a:off x="536575" y="1447801"/>
            <a:ext cx="5416550" cy="3168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35000"/>
              </a:lnSpc>
            </a:pPr>
            <a:r>
              <a:rPr lang="de-DE" sz="1100" b="0">
                <a:solidFill>
                  <a:schemeClr val="tx1"/>
                </a:solidFill>
                <a:latin typeface="+mj-lt"/>
              </a:rPr>
              <a:t>byte - Bayerische Agentur für Digitales GmbH</a:t>
            </a:r>
          </a:p>
          <a:p>
            <a:pPr marL="0" marR="0" indent="0" algn="l" defTabSz="914400" rtl="0" eaLnBrk="1" fontAlgn="auto" latinLnBrk="0" hangingPunct="1">
              <a:lnSpc>
                <a:spcPct val="135000"/>
              </a:lnSpc>
              <a:spcBef>
                <a:spcPts val="0"/>
              </a:spcBef>
              <a:spcAft>
                <a:spcPts val="0"/>
              </a:spcAft>
              <a:buClrTx/>
              <a:buSzTx/>
              <a:buFontTx/>
              <a:buNone/>
              <a:tabLst/>
              <a:defRPr/>
            </a:pPr>
            <a:r>
              <a:rPr lang="de-DE" sz="1100" b="0">
                <a:solidFill>
                  <a:schemeClr val="tx1"/>
                </a:solidFill>
                <a:latin typeface="+mn-lt"/>
              </a:rPr>
              <a:t>Orleansstraße 24</a:t>
            </a:r>
          </a:p>
          <a:p>
            <a:pPr>
              <a:lnSpc>
                <a:spcPct val="135000"/>
              </a:lnSpc>
            </a:pPr>
            <a:r>
              <a:rPr lang="de-DE" sz="1100" b="0">
                <a:solidFill>
                  <a:schemeClr val="tx1"/>
                </a:solidFill>
                <a:latin typeface="+mn-lt"/>
              </a:rPr>
              <a:t>81669 München</a:t>
            </a:r>
          </a:p>
          <a:p>
            <a:pPr>
              <a:lnSpc>
                <a:spcPct val="135000"/>
              </a:lnSpc>
            </a:pPr>
            <a:r>
              <a:rPr lang="de-DE" sz="1100" b="0">
                <a:solidFill>
                  <a:schemeClr val="tx1"/>
                </a:solidFill>
                <a:latin typeface="+mn-lt"/>
              </a:rPr>
              <a:t>Telefon: +49 162 13 49 906</a:t>
            </a:r>
          </a:p>
          <a:p>
            <a:pPr>
              <a:lnSpc>
                <a:spcPct val="135000"/>
              </a:lnSpc>
            </a:pPr>
            <a:r>
              <a:rPr lang="de-DE" sz="1100" b="0">
                <a:solidFill>
                  <a:schemeClr val="tx1"/>
                </a:solidFill>
                <a:latin typeface="+mn-lt"/>
              </a:rPr>
              <a:t>E-Mail: </a:t>
            </a:r>
            <a:r>
              <a:rPr lang="de-DE" sz="1100" b="0">
                <a:solidFill>
                  <a:schemeClr val="tx1"/>
                </a:solidFill>
                <a:latin typeface="+mn-lt"/>
                <a:hlinkClick r:id="rId4"/>
              </a:rPr>
              <a:t>kontakt@byte.bayern</a:t>
            </a:r>
            <a:endParaRPr lang="de-DE" sz="1100" b="0">
              <a:solidFill>
                <a:schemeClr val="tx1"/>
              </a:solidFill>
              <a:latin typeface="+mn-lt"/>
            </a:endParaRPr>
          </a:p>
          <a:p>
            <a:pPr>
              <a:lnSpc>
                <a:spcPct val="135000"/>
              </a:lnSpc>
            </a:pPr>
            <a:r>
              <a:rPr lang="de-DE" sz="1100" b="0">
                <a:solidFill>
                  <a:schemeClr val="tx1"/>
                </a:solidFill>
                <a:latin typeface="+mn-lt"/>
              </a:rPr>
              <a:t>Web: </a:t>
            </a:r>
            <a:r>
              <a:rPr lang="de-DE" sz="1100" b="0" err="1">
                <a:solidFill>
                  <a:schemeClr val="tx1"/>
                </a:solidFill>
                <a:latin typeface="+mn-lt"/>
                <a:hlinkClick r:id="rId5"/>
              </a:rPr>
              <a:t>byte.bayern</a:t>
            </a:r>
            <a:endParaRPr lang="de-DE" sz="1100" b="0">
              <a:solidFill>
                <a:schemeClr val="tx1"/>
              </a:solidFill>
              <a:latin typeface="+mn-lt"/>
            </a:endParaRPr>
          </a:p>
          <a:p>
            <a:pPr>
              <a:lnSpc>
                <a:spcPct val="135000"/>
              </a:lnSpc>
            </a:pPr>
            <a:endParaRPr lang="de-DE" sz="1100" b="0">
              <a:solidFill>
                <a:schemeClr val="tx1"/>
              </a:solidFill>
              <a:latin typeface="+mn-lt"/>
            </a:endParaRPr>
          </a:p>
          <a:p>
            <a:pPr>
              <a:lnSpc>
                <a:spcPct val="135000"/>
              </a:lnSpc>
            </a:pPr>
            <a:r>
              <a:rPr lang="de-DE" sz="1100" b="0">
                <a:solidFill>
                  <a:schemeClr val="tx1"/>
                </a:solidFill>
                <a:latin typeface="+mn-lt"/>
              </a:rPr>
              <a:t>Vertretungsberechtigte:</a:t>
            </a:r>
          </a:p>
          <a:p>
            <a:pPr>
              <a:lnSpc>
                <a:spcPct val="135000"/>
              </a:lnSpc>
            </a:pPr>
            <a:r>
              <a:rPr lang="de-DE" sz="1100" b="0">
                <a:solidFill>
                  <a:schemeClr val="tx1"/>
                </a:solidFill>
                <a:latin typeface="+mn-lt"/>
              </a:rPr>
              <a:t>Antonia Zierer (Geschäftsführerin)</a:t>
            </a:r>
          </a:p>
          <a:p>
            <a:pPr>
              <a:lnSpc>
                <a:spcPct val="135000"/>
              </a:lnSpc>
            </a:pPr>
            <a:r>
              <a:rPr lang="de-DE" sz="1100" b="0">
                <a:solidFill>
                  <a:schemeClr val="tx1"/>
                </a:solidFill>
                <a:latin typeface="+mn-lt"/>
              </a:rPr>
              <a:t>Thorsten Kühnel (Geschäftsführer)</a:t>
            </a:r>
          </a:p>
          <a:p>
            <a:pPr>
              <a:lnSpc>
                <a:spcPct val="135000"/>
              </a:lnSpc>
            </a:pPr>
            <a:endParaRPr lang="de-DE" sz="1100" b="0">
              <a:solidFill>
                <a:schemeClr val="tx1"/>
              </a:solidFill>
              <a:latin typeface="+mn-lt"/>
            </a:endParaRPr>
          </a:p>
          <a:p>
            <a:pPr>
              <a:lnSpc>
                <a:spcPct val="135000"/>
              </a:lnSpc>
            </a:pPr>
            <a:r>
              <a:rPr lang="de-DE" sz="1100" b="0">
                <a:solidFill>
                  <a:schemeClr val="tx1"/>
                </a:solidFill>
                <a:latin typeface="+mn-lt"/>
              </a:rPr>
              <a:t>Registergericht: Amtsgericht München, HRB 273196</a:t>
            </a:r>
          </a:p>
        </p:txBody>
      </p:sp>
      <p:pic>
        <p:nvPicPr>
          <p:cNvPr id="11" name="Grafik 5">
            <a:extLst>
              <a:ext uri="{FF2B5EF4-FFF2-40B4-BE49-F238E27FC236}">
                <a16:creationId xmlns:a16="http://schemas.microsoft.com/office/drawing/2014/main" id="{599ECB64-9AEB-1F41-AD2C-4B314671E1C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478277" y="451568"/>
            <a:ext cx="5521636" cy="5749208"/>
          </a:xfrm>
          <a:prstGeom prst="rect">
            <a:avLst/>
          </a:prstGeom>
        </p:spPr>
      </p:pic>
      <p:pic>
        <p:nvPicPr>
          <p:cNvPr id="6" name="Pulse">
            <a:extLst>
              <a:ext uri="{FF2B5EF4-FFF2-40B4-BE49-F238E27FC236}">
                <a16:creationId xmlns:a16="http://schemas.microsoft.com/office/drawing/2014/main" id="{893D2768-E750-E982-9D87-ABECEC1E8E8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58868" y="4583891"/>
            <a:ext cx="10474264" cy="858868"/>
          </a:xfrm>
          <a:prstGeom prst="rect">
            <a:avLst/>
          </a:prstGeom>
        </p:spPr>
      </p:pic>
      <p:sp>
        <p:nvSpPr>
          <p:cNvPr id="3" name="Textfeld 2">
            <a:extLst>
              <a:ext uri="{FF2B5EF4-FFF2-40B4-BE49-F238E27FC236}">
                <a16:creationId xmlns:a16="http://schemas.microsoft.com/office/drawing/2014/main" id="{9F14E8AD-9CC6-FF95-9546-478AB9A35415}"/>
              </a:ext>
            </a:extLst>
          </p:cNvPr>
          <p:cNvSpPr txBox="1"/>
          <p:nvPr userDrawn="1"/>
        </p:nvSpPr>
        <p:spPr>
          <a:xfrm>
            <a:off x="567397" y="5953827"/>
            <a:ext cx="161290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noProof="0" err="1">
                <a:solidFill>
                  <a:schemeClr val="bg1"/>
                </a:solidFill>
                <a:latin typeface="+mj-lt"/>
              </a:rPr>
              <a:t>byte.bayern</a:t>
            </a:r>
            <a:endParaRPr lang="de-DE" sz="1400" noProof="0">
              <a:solidFill>
                <a:schemeClr val="bg1"/>
              </a:solidFill>
              <a:latin typeface="+mj-lt"/>
            </a:endParaRPr>
          </a:p>
        </p:txBody>
      </p:sp>
    </p:spTree>
    <p:extLst>
      <p:ext uri="{BB962C8B-B14F-4D97-AF65-F5344CB8AC3E}">
        <p14:creationId xmlns:p14="http://schemas.microsoft.com/office/powerpoint/2010/main" val="19139023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yout_Gu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7596122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5" name="Group 54">
            <a:extLst>
              <a:ext uri="{FF2B5EF4-FFF2-40B4-BE49-F238E27FC236}">
                <a16:creationId xmlns:a16="http://schemas.microsoft.com/office/drawing/2014/main" id="{D920E4C1-2BE3-556E-F600-3C469E8D0178}"/>
              </a:ext>
            </a:extLst>
          </p:cNvPr>
          <p:cNvGrpSpPr/>
          <p:nvPr userDrawn="1"/>
        </p:nvGrpSpPr>
        <p:grpSpPr>
          <a:xfrm>
            <a:off x="0" y="0"/>
            <a:ext cx="12196762" cy="6858001"/>
            <a:chOff x="0" y="0"/>
            <a:chExt cx="12196762" cy="6858001"/>
          </a:xfrm>
        </p:grpSpPr>
        <p:sp>
          <p:nvSpPr>
            <p:cNvPr id="2" name="Rectangle 1">
              <a:extLst>
                <a:ext uri="{FF2B5EF4-FFF2-40B4-BE49-F238E27FC236}">
                  <a16:creationId xmlns:a16="http://schemas.microsoft.com/office/drawing/2014/main" id="{DE4C1F58-4FA0-C84E-9392-2CEECAE531B8}"/>
                </a:ext>
              </a:extLst>
            </p:cNvPr>
            <p:cNvSpPr/>
            <p:nvPr userDrawn="1"/>
          </p:nvSpPr>
          <p:spPr>
            <a:xfrm>
              <a:off x="536575" y="441325"/>
              <a:ext cx="11118850" cy="755650"/>
            </a:xfrm>
            <a:prstGeom prst="rect">
              <a:avLst/>
            </a:prstGeom>
            <a:solidFill>
              <a:schemeClr val="tx1">
                <a:lumMod val="50000"/>
                <a:lumOff val="50000"/>
                <a:alpha val="150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 name="Rectangle 4">
              <a:extLst>
                <a:ext uri="{FF2B5EF4-FFF2-40B4-BE49-F238E27FC236}">
                  <a16:creationId xmlns:a16="http://schemas.microsoft.com/office/drawing/2014/main" id="{D263F63C-1AAE-7619-7113-E95B51245E08}"/>
                </a:ext>
              </a:extLst>
            </p:cNvPr>
            <p:cNvSpPr/>
            <p:nvPr userDrawn="1"/>
          </p:nvSpPr>
          <p:spPr>
            <a:xfrm>
              <a:off x="536575" y="1196975"/>
              <a:ext cx="11118850" cy="250825"/>
            </a:xfrm>
            <a:prstGeom prst="rect">
              <a:avLst/>
            </a:prstGeom>
            <a:solidFill>
              <a:srgbClr val="FF0000">
                <a:alpha val="1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8" name="Rectangle 7">
              <a:extLst>
                <a:ext uri="{FF2B5EF4-FFF2-40B4-BE49-F238E27FC236}">
                  <a16:creationId xmlns:a16="http://schemas.microsoft.com/office/drawing/2014/main" id="{0F5C8F43-6BCF-F091-5832-175488992983}"/>
                </a:ext>
              </a:extLst>
            </p:cNvPr>
            <p:cNvSpPr/>
            <p:nvPr userDrawn="1"/>
          </p:nvSpPr>
          <p:spPr>
            <a:xfrm>
              <a:off x="536575" y="1447800"/>
              <a:ext cx="11118850" cy="475297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1" name="Rectangle 10">
              <a:extLst>
                <a:ext uri="{FF2B5EF4-FFF2-40B4-BE49-F238E27FC236}">
                  <a16:creationId xmlns:a16="http://schemas.microsoft.com/office/drawing/2014/main" id="{5A2F1145-FB6F-483B-3E0C-97BBFCF3873A}"/>
                </a:ext>
              </a:extLst>
            </p:cNvPr>
            <p:cNvSpPr/>
            <p:nvPr userDrawn="1"/>
          </p:nvSpPr>
          <p:spPr>
            <a:xfrm>
              <a:off x="0" y="1"/>
              <a:ext cx="535650" cy="6858000"/>
            </a:xfrm>
            <a:prstGeom prst="rect">
              <a:avLst/>
            </a:prstGeom>
            <a:solidFill>
              <a:srgbClr val="FF0000">
                <a:alpha val="1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2" name="Rectangle 11">
              <a:extLst>
                <a:ext uri="{FF2B5EF4-FFF2-40B4-BE49-F238E27FC236}">
                  <a16:creationId xmlns:a16="http://schemas.microsoft.com/office/drawing/2014/main" id="{1D10A5E1-A2C8-C533-FE05-27B210897A13}"/>
                </a:ext>
              </a:extLst>
            </p:cNvPr>
            <p:cNvSpPr/>
            <p:nvPr userDrawn="1"/>
          </p:nvSpPr>
          <p:spPr>
            <a:xfrm>
              <a:off x="11655425" y="1"/>
              <a:ext cx="536575" cy="6858000"/>
            </a:xfrm>
            <a:prstGeom prst="rect">
              <a:avLst/>
            </a:prstGeom>
            <a:solidFill>
              <a:srgbClr val="FF0000">
                <a:alpha val="1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3" name="Rectangle 12">
              <a:extLst>
                <a:ext uri="{FF2B5EF4-FFF2-40B4-BE49-F238E27FC236}">
                  <a16:creationId xmlns:a16="http://schemas.microsoft.com/office/drawing/2014/main" id="{5E28E36F-0FC0-7424-1E77-FF29B53A3B1D}"/>
                </a:ext>
              </a:extLst>
            </p:cNvPr>
            <p:cNvSpPr/>
            <p:nvPr userDrawn="1"/>
          </p:nvSpPr>
          <p:spPr>
            <a:xfrm>
              <a:off x="536575" y="0"/>
              <a:ext cx="11118850" cy="441325"/>
            </a:xfrm>
            <a:prstGeom prst="rect">
              <a:avLst/>
            </a:prstGeom>
            <a:solidFill>
              <a:srgbClr val="FF0000">
                <a:alpha val="1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4" name="Rectangle 13">
              <a:extLst>
                <a:ext uri="{FF2B5EF4-FFF2-40B4-BE49-F238E27FC236}">
                  <a16:creationId xmlns:a16="http://schemas.microsoft.com/office/drawing/2014/main" id="{1265D3DD-6D7B-C924-6529-28F6ADFB48CF}"/>
                </a:ext>
              </a:extLst>
            </p:cNvPr>
            <p:cNvSpPr/>
            <p:nvPr userDrawn="1"/>
          </p:nvSpPr>
          <p:spPr>
            <a:xfrm>
              <a:off x="536575" y="6200775"/>
              <a:ext cx="8267700" cy="73025"/>
            </a:xfrm>
            <a:prstGeom prst="rect">
              <a:avLst/>
            </a:prstGeom>
            <a:solidFill>
              <a:srgbClr val="FF0000">
                <a:alpha val="1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5" name="Rectangle 14">
              <a:extLst>
                <a:ext uri="{FF2B5EF4-FFF2-40B4-BE49-F238E27FC236}">
                  <a16:creationId xmlns:a16="http://schemas.microsoft.com/office/drawing/2014/main" id="{8CE46AD3-00C8-05AF-8220-0156E63E574A}"/>
                </a:ext>
              </a:extLst>
            </p:cNvPr>
            <p:cNvSpPr/>
            <p:nvPr userDrawn="1"/>
          </p:nvSpPr>
          <p:spPr>
            <a:xfrm>
              <a:off x="531813" y="6273609"/>
              <a:ext cx="8272462" cy="403460"/>
            </a:xfrm>
            <a:prstGeom prst="rect">
              <a:avLst/>
            </a:prstGeom>
            <a:solidFill>
              <a:schemeClr val="tx1">
                <a:lumMod val="50000"/>
                <a:lumOff val="50000"/>
                <a:alpha val="150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6" name="Rectangle 15">
              <a:extLst>
                <a:ext uri="{FF2B5EF4-FFF2-40B4-BE49-F238E27FC236}">
                  <a16:creationId xmlns:a16="http://schemas.microsoft.com/office/drawing/2014/main" id="{3DC9E833-E52B-64AE-0F15-BD3D39AC631D}"/>
                </a:ext>
              </a:extLst>
            </p:cNvPr>
            <p:cNvSpPr/>
            <p:nvPr userDrawn="1"/>
          </p:nvSpPr>
          <p:spPr>
            <a:xfrm>
              <a:off x="535650" y="6677068"/>
              <a:ext cx="8268625" cy="180931"/>
            </a:xfrm>
            <a:prstGeom prst="rect">
              <a:avLst/>
            </a:prstGeom>
            <a:solidFill>
              <a:srgbClr val="FF0000">
                <a:alpha val="1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7" name="Rectangle 16">
              <a:extLst>
                <a:ext uri="{FF2B5EF4-FFF2-40B4-BE49-F238E27FC236}">
                  <a16:creationId xmlns:a16="http://schemas.microsoft.com/office/drawing/2014/main" id="{1C6C415D-6336-E491-DEF1-CDF5D3E91FFB}"/>
                </a:ext>
              </a:extLst>
            </p:cNvPr>
            <p:cNvSpPr/>
            <p:nvPr userDrawn="1"/>
          </p:nvSpPr>
          <p:spPr>
            <a:xfrm>
              <a:off x="8804275" y="6208758"/>
              <a:ext cx="2851150" cy="649242"/>
            </a:xfrm>
            <a:prstGeom prst="rect">
              <a:avLst/>
            </a:prstGeom>
            <a:solidFill>
              <a:srgbClr val="FF0000">
                <a:alpha val="1545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22" name="Rectangle 40">
              <a:extLst>
                <a:ext uri="{FF2B5EF4-FFF2-40B4-BE49-F238E27FC236}">
                  <a16:creationId xmlns:a16="http://schemas.microsoft.com/office/drawing/2014/main" id="{4C60721F-7EB0-D1EB-783F-2A882E499607}"/>
                </a:ext>
              </a:extLst>
            </p:cNvPr>
            <p:cNvSpPr>
              <a:spLocks noChangeArrowheads="1"/>
            </p:cNvSpPr>
            <p:nvPr userDrawn="1"/>
          </p:nvSpPr>
          <p:spPr bwMode="auto">
            <a:xfrm>
              <a:off x="1200150"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3" name="Rectangle 40">
              <a:extLst>
                <a:ext uri="{FF2B5EF4-FFF2-40B4-BE49-F238E27FC236}">
                  <a16:creationId xmlns:a16="http://schemas.microsoft.com/office/drawing/2014/main" id="{29FEE3AA-D98A-AFD6-0596-ECD99A811DCA}"/>
                </a:ext>
              </a:extLst>
            </p:cNvPr>
            <p:cNvSpPr>
              <a:spLocks noChangeArrowheads="1"/>
            </p:cNvSpPr>
            <p:nvPr userDrawn="1"/>
          </p:nvSpPr>
          <p:spPr bwMode="auto">
            <a:xfrm>
              <a:off x="2150400"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4" name="Rectangle 40">
              <a:extLst>
                <a:ext uri="{FF2B5EF4-FFF2-40B4-BE49-F238E27FC236}">
                  <a16:creationId xmlns:a16="http://schemas.microsoft.com/office/drawing/2014/main" id="{B9BE7A3B-77B0-B7E3-D88B-ED5E293DF74C}"/>
                </a:ext>
              </a:extLst>
            </p:cNvPr>
            <p:cNvSpPr>
              <a:spLocks noChangeArrowheads="1"/>
            </p:cNvSpPr>
            <p:nvPr userDrawn="1"/>
          </p:nvSpPr>
          <p:spPr bwMode="auto">
            <a:xfrm>
              <a:off x="309972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5" name="Rectangle 40">
              <a:extLst>
                <a:ext uri="{FF2B5EF4-FFF2-40B4-BE49-F238E27FC236}">
                  <a16:creationId xmlns:a16="http://schemas.microsoft.com/office/drawing/2014/main" id="{A05642D8-F50D-594E-19F0-DFC49D1B412B}"/>
                </a:ext>
              </a:extLst>
            </p:cNvPr>
            <p:cNvSpPr>
              <a:spLocks noChangeArrowheads="1"/>
            </p:cNvSpPr>
            <p:nvPr userDrawn="1"/>
          </p:nvSpPr>
          <p:spPr bwMode="auto">
            <a:xfrm>
              <a:off x="405222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6" name="Rectangle 40">
              <a:extLst>
                <a:ext uri="{FF2B5EF4-FFF2-40B4-BE49-F238E27FC236}">
                  <a16:creationId xmlns:a16="http://schemas.microsoft.com/office/drawing/2014/main" id="{7354C256-EA7D-9218-F37D-36A3AC09896F}"/>
                </a:ext>
              </a:extLst>
            </p:cNvPr>
            <p:cNvSpPr>
              <a:spLocks noChangeArrowheads="1"/>
            </p:cNvSpPr>
            <p:nvPr userDrawn="1"/>
          </p:nvSpPr>
          <p:spPr bwMode="auto">
            <a:xfrm>
              <a:off x="500267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7" name="Rectangle 40">
              <a:extLst>
                <a:ext uri="{FF2B5EF4-FFF2-40B4-BE49-F238E27FC236}">
                  <a16:creationId xmlns:a16="http://schemas.microsoft.com/office/drawing/2014/main" id="{38DE85DA-BBA9-AF13-0634-4F51D9A5D753}"/>
                </a:ext>
              </a:extLst>
            </p:cNvPr>
            <p:cNvSpPr>
              <a:spLocks noChangeArrowheads="1"/>
            </p:cNvSpPr>
            <p:nvPr userDrawn="1"/>
          </p:nvSpPr>
          <p:spPr bwMode="auto">
            <a:xfrm>
              <a:off x="5952000"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8" name="Rectangle 40">
              <a:extLst>
                <a:ext uri="{FF2B5EF4-FFF2-40B4-BE49-F238E27FC236}">
                  <a16:creationId xmlns:a16="http://schemas.microsoft.com/office/drawing/2014/main" id="{03AC56DE-AF48-4B63-6C0F-D25E7CD5CA4F}"/>
                </a:ext>
              </a:extLst>
            </p:cNvPr>
            <p:cNvSpPr>
              <a:spLocks noChangeArrowheads="1"/>
            </p:cNvSpPr>
            <p:nvPr userDrawn="1"/>
          </p:nvSpPr>
          <p:spPr bwMode="auto">
            <a:xfrm>
              <a:off x="690132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29" name="Rectangle 40">
              <a:extLst>
                <a:ext uri="{FF2B5EF4-FFF2-40B4-BE49-F238E27FC236}">
                  <a16:creationId xmlns:a16="http://schemas.microsoft.com/office/drawing/2014/main" id="{494DB6A6-3130-E0AD-3506-AF55153A483C}"/>
                </a:ext>
              </a:extLst>
            </p:cNvPr>
            <p:cNvSpPr>
              <a:spLocks noChangeArrowheads="1"/>
            </p:cNvSpPr>
            <p:nvPr userDrawn="1"/>
          </p:nvSpPr>
          <p:spPr bwMode="auto">
            <a:xfrm>
              <a:off x="785177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0" name="Rectangle 40">
              <a:extLst>
                <a:ext uri="{FF2B5EF4-FFF2-40B4-BE49-F238E27FC236}">
                  <a16:creationId xmlns:a16="http://schemas.microsoft.com/office/drawing/2014/main" id="{D85B49E4-BB03-49D8-4D65-6E4C88F644DD}"/>
                </a:ext>
              </a:extLst>
            </p:cNvPr>
            <p:cNvSpPr>
              <a:spLocks noChangeArrowheads="1"/>
            </p:cNvSpPr>
            <p:nvPr userDrawn="1"/>
          </p:nvSpPr>
          <p:spPr bwMode="auto">
            <a:xfrm>
              <a:off x="880427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31" name="Rectangle 40">
              <a:extLst>
                <a:ext uri="{FF2B5EF4-FFF2-40B4-BE49-F238E27FC236}">
                  <a16:creationId xmlns:a16="http://schemas.microsoft.com/office/drawing/2014/main" id="{06A1AFD6-5417-ADE9-EC5C-186B23AAD195}"/>
                </a:ext>
              </a:extLst>
            </p:cNvPr>
            <p:cNvSpPr>
              <a:spLocks noChangeArrowheads="1"/>
            </p:cNvSpPr>
            <p:nvPr userDrawn="1"/>
          </p:nvSpPr>
          <p:spPr bwMode="auto">
            <a:xfrm>
              <a:off x="975452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32" name="Rectangle 40">
              <a:extLst>
                <a:ext uri="{FF2B5EF4-FFF2-40B4-BE49-F238E27FC236}">
                  <a16:creationId xmlns:a16="http://schemas.microsoft.com/office/drawing/2014/main" id="{4086AC73-0422-3574-D0D9-EFCD9669A01A}"/>
                </a:ext>
              </a:extLst>
            </p:cNvPr>
            <p:cNvSpPr>
              <a:spLocks noChangeArrowheads="1"/>
            </p:cNvSpPr>
            <p:nvPr userDrawn="1"/>
          </p:nvSpPr>
          <p:spPr bwMode="auto">
            <a:xfrm>
              <a:off x="10702925" y="444499"/>
              <a:ext cx="288000" cy="5755459"/>
            </a:xfrm>
            <a:prstGeom prst="rect">
              <a:avLst/>
            </a:prstGeom>
            <a:solidFill>
              <a:schemeClr val="tx1">
                <a:lumMod val="50000"/>
                <a:lumOff val="50000"/>
                <a:alpha val="12000"/>
              </a:schemeClr>
            </a:solidFill>
            <a:ln>
              <a:noFill/>
            </a:ln>
          </p:spPr>
          <p:txBody>
            <a:bodyPr vert="horz" wrap="square" lIns="91440" tIns="45720" rIns="91440" bIns="45720" numCol="1" anchor="t" anchorCtr="0" compatLnSpc="1">
              <a:prstTxWarp prst="textNoShape">
                <a:avLst/>
              </a:prstTxWarp>
            </a:bodyPr>
            <a:lstStyle/>
            <a:p>
              <a:pPr lvl="0"/>
              <a:endParaRPr lang="en-US"/>
            </a:p>
          </p:txBody>
        </p:sp>
        <p:cxnSp>
          <p:nvCxnSpPr>
            <p:cNvPr id="34" name="Straight Connector 33">
              <a:extLst>
                <a:ext uri="{FF2B5EF4-FFF2-40B4-BE49-F238E27FC236}">
                  <a16:creationId xmlns:a16="http://schemas.microsoft.com/office/drawing/2014/main" id="{EBBAE034-537C-A24C-1B8E-68B2D2CF55A9}"/>
                </a:ext>
              </a:extLst>
            </p:cNvPr>
            <p:cNvCxnSpPr>
              <a:cxnSpLocks/>
            </p:cNvCxnSpPr>
            <p:nvPr userDrawn="1"/>
          </p:nvCxnSpPr>
          <p:spPr>
            <a:xfrm>
              <a:off x="0" y="441325"/>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6F99D8F-43A9-96AE-9605-284D00B500EB}"/>
                </a:ext>
              </a:extLst>
            </p:cNvPr>
            <p:cNvCxnSpPr>
              <a:cxnSpLocks/>
            </p:cNvCxnSpPr>
            <p:nvPr userDrawn="1"/>
          </p:nvCxnSpPr>
          <p:spPr>
            <a:xfrm>
              <a:off x="0" y="1196975"/>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06E3A8E-D776-4958-CF59-D13663EFF4EB}"/>
                </a:ext>
              </a:extLst>
            </p:cNvPr>
            <p:cNvCxnSpPr>
              <a:cxnSpLocks/>
            </p:cNvCxnSpPr>
            <p:nvPr userDrawn="1"/>
          </p:nvCxnSpPr>
          <p:spPr>
            <a:xfrm>
              <a:off x="0" y="1447800"/>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FEDE27A-BF49-D570-660D-87D26E1AC0BD}"/>
                </a:ext>
              </a:extLst>
            </p:cNvPr>
            <p:cNvCxnSpPr>
              <a:cxnSpLocks/>
            </p:cNvCxnSpPr>
            <p:nvPr userDrawn="1"/>
          </p:nvCxnSpPr>
          <p:spPr>
            <a:xfrm>
              <a:off x="0" y="1844675"/>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645E50C-CB87-BF33-C2A4-9A465E177DF1}"/>
                </a:ext>
              </a:extLst>
            </p:cNvPr>
            <p:cNvCxnSpPr>
              <a:cxnSpLocks/>
            </p:cNvCxnSpPr>
            <p:nvPr userDrawn="1"/>
          </p:nvCxnSpPr>
          <p:spPr>
            <a:xfrm>
              <a:off x="0" y="2241550"/>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DCD5713-3552-886D-D0CB-50C4AE54D078}"/>
                </a:ext>
              </a:extLst>
            </p:cNvPr>
            <p:cNvCxnSpPr>
              <a:cxnSpLocks/>
            </p:cNvCxnSpPr>
            <p:nvPr userDrawn="1"/>
          </p:nvCxnSpPr>
          <p:spPr>
            <a:xfrm>
              <a:off x="0" y="2636838"/>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7914C14-9E12-99B8-EE72-4D730073A98E}"/>
                </a:ext>
              </a:extLst>
            </p:cNvPr>
            <p:cNvCxnSpPr>
              <a:cxnSpLocks/>
            </p:cNvCxnSpPr>
            <p:nvPr userDrawn="1"/>
          </p:nvCxnSpPr>
          <p:spPr>
            <a:xfrm>
              <a:off x="4762" y="3033713"/>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0BFCA3C-E7C0-7A0B-33DB-ADF15AC9167D}"/>
                </a:ext>
              </a:extLst>
            </p:cNvPr>
            <p:cNvCxnSpPr>
              <a:cxnSpLocks/>
            </p:cNvCxnSpPr>
            <p:nvPr userDrawn="1"/>
          </p:nvCxnSpPr>
          <p:spPr>
            <a:xfrm>
              <a:off x="0" y="1844675"/>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F840387-E428-2384-3867-9631FAA1DF87}"/>
                </a:ext>
              </a:extLst>
            </p:cNvPr>
            <p:cNvCxnSpPr>
              <a:cxnSpLocks/>
            </p:cNvCxnSpPr>
            <p:nvPr userDrawn="1"/>
          </p:nvCxnSpPr>
          <p:spPr>
            <a:xfrm>
              <a:off x="4762" y="3429000"/>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DD2B184-133E-3ECA-6131-534263F30F75}"/>
                </a:ext>
              </a:extLst>
            </p:cNvPr>
            <p:cNvCxnSpPr>
              <a:cxnSpLocks/>
            </p:cNvCxnSpPr>
            <p:nvPr userDrawn="1"/>
          </p:nvCxnSpPr>
          <p:spPr>
            <a:xfrm>
              <a:off x="4762" y="3824288"/>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ADAEC12-BF08-E11B-A014-EB1BF5C3B541}"/>
                </a:ext>
              </a:extLst>
            </p:cNvPr>
            <p:cNvCxnSpPr>
              <a:cxnSpLocks/>
            </p:cNvCxnSpPr>
            <p:nvPr userDrawn="1"/>
          </p:nvCxnSpPr>
          <p:spPr>
            <a:xfrm>
              <a:off x="4762" y="4221163"/>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8DEAD99-B72E-946D-9EA3-89130A3FDBA0}"/>
                </a:ext>
              </a:extLst>
            </p:cNvPr>
            <p:cNvCxnSpPr>
              <a:cxnSpLocks/>
            </p:cNvCxnSpPr>
            <p:nvPr userDrawn="1"/>
          </p:nvCxnSpPr>
          <p:spPr>
            <a:xfrm>
              <a:off x="4762" y="4616450"/>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CC5D500-542A-7E8F-DE97-592A81D6511D}"/>
                </a:ext>
              </a:extLst>
            </p:cNvPr>
            <p:cNvCxnSpPr>
              <a:cxnSpLocks/>
            </p:cNvCxnSpPr>
            <p:nvPr userDrawn="1"/>
          </p:nvCxnSpPr>
          <p:spPr>
            <a:xfrm>
              <a:off x="4762" y="5013325"/>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3B1ADA8-1A8F-DF73-EEB5-A1B70FE626D7}"/>
                </a:ext>
              </a:extLst>
            </p:cNvPr>
            <p:cNvCxnSpPr>
              <a:cxnSpLocks/>
            </p:cNvCxnSpPr>
            <p:nvPr userDrawn="1"/>
          </p:nvCxnSpPr>
          <p:spPr>
            <a:xfrm>
              <a:off x="4762" y="5408613"/>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23FA3A1E-796B-38CE-9CF2-2051FACD0358}"/>
                </a:ext>
              </a:extLst>
            </p:cNvPr>
            <p:cNvCxnSpPr>
              <a:cxnSpLocks/>
            </p:cNvCxnSpPr>
            <p:nvPr userDrawn="1"/>
          </p:nvCxnSpPr>
          <p:spPr>
            <a:xfrm>
              <a:off x="4762" y="5805488"/>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E24FC22-2E3B-1C7E-DAF7-15EE4867663B}"/>
                </a:ext>
              </a:extLst>
            </p:cNvPr>
            <p:cNvCxnSpPr>
              <a:cxnSpLocks/>
            </p:cNvCxnSpPr>
            <p:nvPr userDrawn="1"/>
          </p:nvCxnSpPr>
          <p:spPr>
            <a:xfrm>
              <a:off x="0" y="333375"/>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5A65313-2197-EACD-939E-C56446C89CD8}"/>
                </a:ext>
              </a:extLst>
            </p:cNvPr>
            <p:cNvCxnSpPr>
              <a:cxnSpLocks/>
            </p:cNvCxnSpPr>
            <p:nvPr userDrawn="1"/>
          </p:nvCxnSpPr>
          <p:spPr>
            <a:xfrm>
              <a:off x="0" y="152400"/>
              <a:ext cx="12192000" cy="0"/>
            </a:xfrm>
            <a:prstGeom prst="line">
              <a:avLst/>
            </a:prstGeom>
            <a:ln w="9525">
              <a:solidFill>
                <a:schemeClr val="accent2">
                  <a:alpha val="14951"/>
                </a:schemeClr>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569D3355-9A3C-CEB0-76C5-A8F38DDAE802}"/>
                </a:ext>
              </a:extLst>
            </p:cNvPr>
            <p:cNvSpPr/>
            <p:nvPr userDrawn="1"/>
          </p:nvSpPr>
          <p:spPr>
            <a:xfrm>
              <a:off x="11650663" y="6521449"/>
              <a:ext cx="295500" cy="98427"/>
            </a:xfrm>
            <a:prstGeom prst="rect">
              <a:avLst/>
            </a:prstGeom>
            <a:solidFill>
              <a:schemeClr val="tx1">
                <a:lumMod val="50000"/>
                <a:lumOff val="50000"/>
                <a:alpha val="150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54" name="Rectangle 53">
              <a:extLst>
                <a:ext uri="{FF2B5EF4-FFF2-40B4-BE49-F238E27FC236}">
                  <a16:creationId xmlns:a16="http://schemas.microsoft.com/office/drawing/2014/main" id="{5968B7DF-2912-411D-8A8E-70D9E9723D84}"/>
                </a:ext>
              </a:extLst>
            </p:cNvPr>
            <p:cNvSpPr/>
            <p:nvPr userDrawn="1"/>
          </p:nvSpPr>
          <p:spPr>
            <a:xfrm>
              <a:off x="9296400" y="6521450"/>
              <a:ext cx="1801378" cy="98426"/>
            </a:xfrm>
            <a:prstGeom prst="rect">
              <a:avLst/>
            </a:prstGeom>
            <a:solidFill>
              <a:schemeClr val="tx1">
                <a:lumMod val="50000"/>
                <a:lumOff val="50000"/>
                <a:alpha val="150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grpSp>
      <p:sp>
        <p:nvSpPr>
          <p:cNvPr id="57" name="Footnote example">
            <a:extLst>
              <a:ext uri="{FF2B5EF4-FFF2-40B4-BE49-F238E27FC236}">
                <a16:creationId xmlns:a16="http://schemas.microsoft.com/office/drawing/2014/main" id="{DAC4100D-9703-B07C-6B1F-2C0A4944CDB0}"/>
              </a:ext>
            </a:extLst>
          </p:cNvPr>
          <p:cNvSpPr txBox="1"/>
          <p:nvPr userDrawn="1"/>
        </p:nvSpPr>
        <p:spPr>
          <a:xfrm>
            <a:off x="535650" y="6257579"/>
            <a:ext cx="8263863"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chemeClr val="accent2"/>
                </a:solidFill>
                <a:effectLst/>
                <a:uLnTx/>
                <a:uFillTx/>
                <a:latin typeface="+mn-lt"/>
                <a:ea typeface="+mn-ea"/>
                <a:cs typeface="+mn-cs"/>
                <a:sym typeface="Trebuchet MS" panose="020B0603020202020204" pitchFamily="34" charset="0"/>
              </a:rPr>
              <a:t>1. xxx  2. xxx  3. Zähle die Fußnoten in numerischer Reihenfolge auf. Fußnoten haben keine Klammer. Nutze 10pt Schriftgröß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chemeClr val="accent2"/>
                </a:solidFill>
                <a:effectLst/>
                <a:uLnTx/>
                <a:uFillTx/>
                <a:latin typeface="+mn-lt"/>
                <a:ea typeface="+mn-ea"/>
                <a:cs typeface="+mn-cs"/>
                <a:sym typeface="Trebuchet MS" panose="020B0603020202020204" pitchFamily="34" charset="0"/>
              </a:rPr>
              <a:t>Hinweis: Setze keinen Punkt an das Ende des Hinweises oder der Quell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1000" b="0" i="0" u="none" strike="noStrike" kern="1200" cap="none" spc="0" normalizeH="0" baseline="0" noProof="0">
                <a:ln>
                  <a:noFill/>
                </a:ln>
                <a:solidFill>
                  <a:schemeClr val="accent2"/>
                </a:solidFill>
                <a:effectLst/>
                <a:uLnTx/>
                <a:uFillTx/>
                <a:latin typeface="+mn-lt"/>
                <a:ea typeface="+mn-ea"/>
                <a:cs typeface="+mn-cs"/>
                <a:sym typeface="Trebuchet MS" panose="020B0603020202020204" pitchFamily="34" charset="0"/>
              </a:rPr>
              <a:t>Quelle: Gebe für alle Analysen eine Quelle an. Trenne mehrere Quellen mit einem Semikolon; byte-interne Quellen stehen am Ende</a:t>
            </a:r>
          </a:p>
        </p:txBody>
      </p:sp>
      <p:sp>
        <p:nvSpPr>
          <p:cNvPr id="4" name="Footer Placeholder 3">
            <a:extLst>
              <a:ext uri="{FF2B5EF4-FFF2-40B4-BE49-F238E27FC236}">
                <a16:creationId xmlns:a16="http://schemas.microsoft.com/office/drawing/2014/main" id="{8FE075C5-120E-7CC6-92A3-EF9864090049}"/>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9EE36D80-8BCE-B6C9-2743-03DD72DB5766}"/>
              </a:ext>
            </a:extLst>
          </p:cNvPr>
          <p:cNvSpPr>
            <a:spLocks noGrp="1"/>
          </p:cNvSpPr>
          <p:nvPr>
            <p:ph type="sldNum" sz="quarter" idx="14"/>
          </p:nvPr>
        </p:nvSpPr>
        <p:spPr/>
        <p:txBody>
          <a:bodyPr/>
          <a:lstStyle/>
          <a:p>
            <a:fld id="{0016BBAD-09BD-6243-A9CA-D1F4B193196B}" type="slidenum">
              <a:rPr lang="en-GB" smtClean="0"/>
              <a:pPr/>
              <a:t>‹Nr.›</a:t>
            </a:fld>
            <a:endParaRPr lang="en-GB"/>
          </a:p>
        </p:txBody>
      </p:sp>
    </p:spTree>
    <p:extLst>
      <p:ext uri="{BB962C8B-B14F-4D97-AF65-F5344CB8AC3E}">
        <p14:creationId xmlns:p14="http://schemas.microsoft.com/office/powerpoint/2010/main" val="13244511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ere_Se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419BDB-0AAD-52FA-4D51-7E0CFFD153E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p>
            <a:r>
              <a:rPr lang="de-DE"/>
              <a:t>| </a:t>
            </a:r>
            <a:fld id="{31EA475C-CC8F-4C3C-8236-4449500701E8}"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p>
            <a:r>
              <a:rPr lang="de-DE"/>
              <a:t>Seite </a:t>
            </a:r>
            <a:fld id="{F3829FEA-ED73-4A5A-98B4-E51078EAB7AC}" type="slidenum">
              <a:rPr lang="de-DE" smtClean="0">
                <a:latin typeface="+mj-lt"/>
              </a:rPr>
              <a:pPr/>
              <a:t>‹Nr.›</a:t>
            </a:fld>
            <a:endParaRPr lang="de-DE">
              <a:latin typeface="+mj-lt"/>
            </a:endParaRPr>
          </a:p>
        </p:txBody>
      </p:sp>
    </p:spTree>
    <p:extLst>
      <p:ext uri="{BB962C8B-B14F-4D97-AF65-F5344CB8AC3E}">
        <p14:creationId xmlns:p14="http://schemas.microsoft.com/office/powerpoint/2010/main" val="2486682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D307C9D-3453-6F71-D886-68BC361F14D9}"/>
              </a:ext>
            </a:extLst>
          </p:cNvPr>
          <p:cNvSpPr/>
          <p:nvPr userDrawn="1"/>
        </p:nvSpPr>
        <p:spPr>
          <a:xfrm>
            <a:off x="0" y="0"/>
            <a:ext cx="12192000" cy="515566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5" name="Grafik 4">
            <a:extLst>
              <a:ext uri="{FF2B5EF4-FFF2-40B4-BE49-F238E27FC236}">
                <a16:creationId xmlns:a16="http://schemas.microsoft.com/office/drawing/2014/main" id="{7E4A445E-C6CD-DB06-4E02-4F47EE484E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0681" y="4692948"/>
            <a:ext cx="8836170" cy="893066"/>
          </a:xfrm>
          <a:prstGeom prst="rect">
            <a:avLst/>
          </a:prstGeom>
        </p:spPr>
      </p:pic>
      <p:sp>
        <p:nvSpPr>
          <p:cNvPr id="4" name="Datumsplatzhalter 3">
            <a:extLst>
              <a:ext uri="{FF2B5EF4-FFF2-40B4-BE49-F238E27FC236}">
                <a16:creationId xmlns:a16="http://schemas.microsoft.com/office/drawing/2014/main" id="{5B2E855C-148D-336D-9F69-3806F351A11B}"/>
              </a:ext>
            </a:extLst>
          </p:cNvPr>
          <p:cNvSpPr>
            <a:spLocks noGrp="1"/>
          </p:cNvSpPr>
          <p:nvPr>
            <p:ph type="dt" sz="half" idx="10"/>
          </p:nvPr>
        </p:nvSpPr>
        <p:spPr/>
        <p:txBody>
          <a:bodyPr/>
          <a:lstStyle/>
          <a:p>
            <a:r>
              <a:rPr lang="de-DE"/>
              <a:t>| </a:t>
            </a:r>
            <a:fld id="{C787BBCD-06CF-477E-B60F-F70D590EB116}" type="datetime1">
              <a:rPr lang="de-DE" smtClean="0"/>
              <a:t>18.01.24</a:t>
            </a:fld>
            <a:endParaRPr lang="de-DE"/>
          </a:p>
        </p:txBody>
      </p:sp>
      <p:sp>
        <p:nvSpPr>
          <p:cNvPr id="7" name="Textfeld 6">
            <a:extLst>
              <a:ext uri="{FF2B5EF4-FFF2-40B4-BE49-F238E27FC236}">
                <a16:creationId xmlns:a16="http://schemas.microsoft.com/office/drawing/2014/main" id="{E64A5574-388D-AEB3-8658-DF7E4F8CA354}"/>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latin typeface="+mj-lt"/>
              </a:rPr>
              <a:t>byte</a:t>
            </a:r>
            <a:r>
              <a:rPr lang="de-DE" sz="800">
                <a:latin typeface="+mn-lt"/>
              </a:rPr>
              <a:t> – Bayerische Agentur für Digitales</a:t>
            </a:r>
          </a:p>
        </p:txBody>
      </p:sp>
      <p:sp>
        <p:nvSpPr>
          <p:cNvPr id="12" name="Textfeld 11">
            <a:extLst>
              <a:ext uri="{FF2B5EF4-FFF2-40B4-BE49-F238E27FC236}">
                <a16:creationId xmlns:a16="http://schemas.microsoft.com/office/drawing/2014/main" id="{ADBC390A-3C69-C377-6367-44DA1A2F0C0F}"/>
              </a:ext>
            </a:extLst>
          </p:cNvPr>
          <p:cNvSpPr txBox="1">
            <a:spLocks/>
          </p:cNvSpPr>
          <p:nvPr userDrawn="1"/>
        </p:nvSpPr>
        <p:spPr>
          <a:xfrm>
            <a:off x="587375" y="5930091"/>
            <a:ext cx="1928812" cy="246221"/>
          </a:xfrm>
          <a:prstGeom prst="rect">
            <a:avLst/>
          </a:prstGeom>
          <a:noFill/>
        </p:spPr>
        <p:txBody>
          <a:bodyPr wrap="square" lIns="0" tIns="0" rIns="0" bIns="0" rtlCol="0">
            <a:spAutoFit/>
          </a:bodyPr>
          <a:lstStyle/>
          <a:p>
            <a:r>
              <a:rPr lang="de-DE" sz="1600" err="1">
                <a:latin typeface="+mj-lt"/>
              </a:rPr>
              <a:t>byte.bayern</a:t>
            </a:r>
            <a:endParaRPr lang="de-DE" sz="1600">
              <a:latin typeface="+mj-lt"/>
            </a:endParaRPr>
          </a:p>
        </p:txBody>
      </p:sp>
      <p:cxnSp>
        <p:nvCxnSpPr>
          <p:cNvPr id="14" name="Gerader Verbinder 13">
            <a:extLst>
              <a:ext uri="{FF2B5EF4-FFF2-40B4-BE49-F238E27FC236}">
                <a16:creationId xmlns:a16="http://schemas.microsoft.com/office/drawing/2014/main" id="{C1C5AE54-951F-6266-B315-8D3BB7762EC0}"/>
              </a:ext>
            </a:extLst>
          </p:cNvPr>
          <p:cNvCxnSpPr>
            <a:cxnSpLocks/>
          </p:cNvCxnSpPr>
          <p:nvPr userDrawn="1"/>
        </p:nvCxnSpPr>
        <p:spPr>
          <a:xfrm>
            <a:off x="599280" y="6208496"/>
            <a:ext cx="116522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4FD383E7-1A92-7BE2-8D0C-705B28D89A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55112" y="195211"/>
            <a:ext cx="5822379" cy="6062346"/>
          </a:xfrm>
          <a:prstGeom prst="rect">
            <a:avLst/>
          </a:prstGeom>
        </p:spPr>
      </p:pic>
      <p:grpSp>
        <p:nvGrpSpPr>
          <p:cNvPr id="56" name="Gruppieren 55">
            <a:extLst>
              <a:ext uri="{FF2B5EF4-FFF2-40B4-BE49-F238E27FC236}">
                <a16:creationId xmlns:a16="http://schemas.microsoft.com/office/drawing/2014/main" id="{7BD90753-3021-299D-7D63-5F13EF573FA8}"/>
              </a:ext>
            </a:extLst>
          </p:cNvPr>
          <p:cNvGrpSpPr/>
          <p:nvPr userDrawn="1"/>
        </p:nvGrpSpPr>
        <p:grpSpPr>
          <a:xfrm>
            <a:off x="11115518" y="188913"/>
            <a:ext cx="884395" cy="1075002"/>
            <a:chOff x="12265626" y="195630"/>
            <a:chExt cx="884395" cy="1075002"/>
          </a:xfrm>
        </p:grpSpPr>
        <p:sp>
          <p:nvSpPr>
            <p:cNvPr id="13" name="Freihandform: Form 12">
              <a:extLst>
                <a:ext uri="{FF2B5EF4-FFF2-40B4-BE49-F238E27FC236}">
                  <a16:creationId xmlns:a16="http://schemas.microsoft.com/office/drawing/2014/main" id="{1A7D6FA3-216D-4D0B-3D01-351BDF09B816}"/>
                </a:ext>
              </a:extLst>
            </p:cNvPr>
            <p:cNvSpPr/>
            <p:nvPr/>
          </p:nvSpPr>
          <p:spPr>
            <a:xfrm>
              <a:off x="12265626" y="195630"/>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1A95F69C-A6ED-B75D-473D-355182F1076F}"/>
                </a:ext>
              </a:extLst>
            </p:cNvPr>
            <p:cNvSpPr/>
            <p:nvPr/>
          </p:nvSpPr>
          <p:spPr>
            <a:xfrm>
              <a:off x="12793204"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1AE5FF5C-FE2F-16DD-06BB-D58420FBC9A4}"/>
                </a:ext>
              </a:extLst>
            </p:cNvPr>
            <p:cNvSpPr/>
            <p:nvPr/>
          </p:nvSpPr>
          <p:spPr>
            <a:xfrm>
              <a:off x="12910626" y="546759"/>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798D9137-7211-DA54-2F04-CAA274E6D0E5}"/>
                </a:ext>
              </a:extLst>
            </p:cNvPr>
            <p:cNvSpPr/>
            <p:nvPr/>
          </p:nvSpPr>
          <p:spPr>
            <a:xfrm>
              <a:off x="12675908" y="42946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AD079D00-EDC0-B490-0CC9-47D5DD869753}"/>
                </a:ext>
              </a:extLst>
            </p:cNvPr>
            <p:cNvSpPr/>
            <p:nvPr/>
          </p:nvSpPr>
          <p:spPr>
            <a:xfrm>
              <a:off x="12675908"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a:p>
          </p:txBody>
        </p:sp>
        <p:grpSp>
          <p:nvGrpSpPr>
            <p:cNvPr id="55" name="Gruppieren 54">
              <a:extLst>
                <a:ext uri="{FF2B5EF4-FFF2-40B4-BE49-F238E27FC236}">
                  <a16:creationId xmlns:a16="http://schemas.microsoft.com/office/drawing/2014/main" id="{67DC14F6-9C3C-1EB9-E163-2DBF6CD69B06}"/>
                </a:ext>
              </a:extLst>
            </p:cNvPr>
            <p:cNvGrpSpPr/>
            <p:nvPr userDrawn="1"/>
          </p:nvGrpSpPr>
          <p:grpSpPr>
            <a:xfrm>
              <a:off x="12266005" y="1135893"/>
              <a:ext cx="883889" cy="134739"/>
              <a:chOff x="12266005" y="1135893"/>
              <a:chExt cx="883889" cy="134739"/>
            </a:xfrm>
            <a:solidFill>
              <a:schemeClr val="bg1"/>
            </a:solidFill>
          </p:grpSpPr>
          <p:sp>
            <p:nvSpPr>
              <p:cNvPr id="19" name="Freihandform: Form 18">
                <a:extLst>
                  <a:ext uri="{FF2B5EF4-FFF2-40B4-BE49-F238E27FC236}">
                    <a16:creationId xmlns:a16="http://schemas.microsoft.com/office/drawing/2014/main" id="{697D518C-2DFB-E884-722C-DABC8DEC4503}"/>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0E8B9DA1-DED6-0323-7A41-CF61CDE178CF}"/>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E437B576-28AF-5C33-CF1B-AC9406D47265}"/>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CDC8B612-AD28-A078-05C8-C62EBACF8471}"/>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E53AFD93-875D-28F4-8D3F-256DFC42D50B}"/>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5A553ACF-8429-A847-01A1-0DBA467C4F95}"/>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8C00DFD7-0E2E-A2FC-64D7-3FB5FAA74377}"/>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65EC948-9DD0-99F7-1337-6B28A6182D19}"/>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D94F2C1-B577-133E-873F-06F187F9A361}"/>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8AE56AAE-5784-63D7-24E2-D3B4E73029BC}"/>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D70E0420-8DD0-9CAC-AB38-52FD7179C79C}"/>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442220EB-6E2F-EBBC-6B0E-0106AB4F829C}"/>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05CF614C-285B-8387-A510-CBA52CF878AC}"/>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AF3E4228-4D6C-21F0-8F60-23B75FE0BB16}"/>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C0F88BC8-C342-712F-359A-D6D059B9747F}"/>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86821013-7BAC-5F1E-DB57-BFD53C65CA99}"/>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86AF4C2C-556F-08F6-5BE0-1E442B39ABF1}"/>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D62C5642-9678-7138-A80D-96DF69BCF80C}"/>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D57FD682-CC26-5A8D-9A38-47DEAF06956C}"/>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C2A917DB-2AB9-90DF-2CB5-5D700D011914}"/>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3E16C891-99C5-57CE-21B3-FBE5E347A4B1}"/>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1B92D7A6-E1CD-690D-B9EF-E8CC43B3BD83}"/>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6F214B38-B228-CD81-934D-213ADB5D36C6}"/>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8A29BB7F-42D4-9554-EFF6-33E83DBABAB8}"/>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F2417695-5450-9254-855B-394B582B8827}"/>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E0776AD0-C0C5-DDCB-0F11-239A7D1DF3DB}"/>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3C28BEE8-9E7D-B872-14A0-56716185B367}"/>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9E4E41C3-1708-2337-9CDA-32A9E7322277}"/>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2B414A1-6ED3-AE15-3C79-B5C24B709656}"/>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a:p>
            </p:txBody>
          </p:sp>
        </p:grpSp>
        <p:sp>
          <p:nvSpPr>
            <p:cNvPr id="49" name="Freihandform: Form 48">
              <a:extLst>
                <a:ext uri="{FF2B5EF4-FFF2-40B4-BE49-F238E27FC236}">
                  <a16:creationId xmlns:a16="http://schemas.microsoft.com/office/drawing/2014/main" id="{0351055E-64F6-A13A-CBD0-0C96CD46F302}"/>
                </a:ext>
              </a:extLst>
            </p:cNvPr>
            <p:cNvSpPr/>
            <p:nvPr/>
          </p:nvSpPr>
          <p:spPr>
            <a:xfrm>
              <a:off x="12334891" y="759990"/>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9FECC564-6171-4BAE-3A2A-B5AF38840709}"/>
                </a:ext>
              </a:extLst>
            </p:cNvPr>
            <p:cNvSpPr/>
            <p:nvPr/>
          </p:nvSpPr>
          <p:spPr>
            <a:xfrm>
              <a:off x="12553430" y="808779"/>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036227CC-1209-F626-FD03-08BE9B99CDB9}"/>
                </a:ext>
              </a:extLst>
            </p:cNvPr>
            <p:cNvSpPr/>
            <p:nvPr/>
          </p:nvSpPr>
          <p:spPr>
            <a:xfrm>
              <a:off x="12773234" y="761759"/>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B7563670-DF43-DC4A-BF7B-7D365F6FC62E}"/>
                </a:ext>
              </a:extLst>
            </p:cNvPr>
            <p:cNvSpPr/>
            <p:nvPr/>
          </p:nvSpPr>
          <p:spPr>
            <a:xfrm>
              <a:off x="12930218" y="808273"/>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A2DBAF41-3D65-0EEF-5D6B-B1239F9B6CEA}"/>
                </a:ext>
              </a:extLst>
            </p:cNvPr>
            <p:cNvSpPr/>
            <p:nvPr/>
          </p:nvSpPr>
          <p:spPr>
            <a:xfrm>
              <a:off x="12910626"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D5679D79-D912-7434-A2A1-CCF5FFAC1755}"/>
                </a:ext>
              </a:extLst>
            </p:cNvPr>
            <p:cNvSpPr/>
            <p:nvPr/>
          </p:nvSpPr>
          <p:spPr>
            <a:xfrm>
              <a:off x="12910626"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4013B1EC-95E7-EC42-94DE-B3ACC20C58B3}"/>
              </a:ext>
            </a:extLst>
          </p:cNvPr>
          <p:cNvSpPr>
            <a:spLocks noGrp="1"/>
          </p:cNvSpPr>
          <p:nvPr>
            <p:ph type="ctrTitle"/>
          </p:nvPr>
        </p:nvSpPr>
        <p:spPr>
          <a:xfrm>
            <a:off x="587375" y="1598228"/>
            <a:ext cx="8424863" cy="2283311"/>
          </a:xfrm>
        </p:spPr>
        <p:txBody>
          <a:bodyPr anchor="t">
            <a:noAutofit/>
          </a:bodyPr>
          <a:lstStyle>
            <a:lvl1pPr algn="l">
              <a:defRPr sz="4800">
                <a:solidFill>
                  <a:schemeClr val="bg1"/>
                </a:solidFill>
                <a:latin typeface="+mn-lt"/>
              </a:defRPr>
            </a:lvl1pPr>
          </a:lstStyle>
          <a:p>
            <a:r>
              <a:rPr lang="de-DE"/>
              <a:t>Mastertitelformat bearbeiten</a:t>
            </a:r>
          </a:p>
        </p:txBody>
      </p:sp>
    </p:spTree>
    <p:extLst>
      <p:ext uri="{BB962C8B-B14F-4D97-AF65-F5344CB8AC3E}">
        <p14:creationId xmlns:p14="http://schemas.microsoft.com/office/powerpoint/2010/main" val="35546260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erfolie weiß">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tx1"/>
                </a:solidFill>
              </a:defRPr>
            </a:lvl1pPr>
          </a:lstStyle>
          <a:p>
            <a:r>
              <a:rPr lang="de-DE"/>
              <a:t>| </a:t>
            </a:r>
            <a:fld id="{5B7B5FAE-4D42-4F2F-8ACA-4394B12465EF}" type="datetime1">
              <a:rPr lang="de-DE" smtClean="0">
                <a:latin typeface="+mn-lt"/>
              </a:rPr>
              <a:p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tx1"/>
                </a:solidFill>
                <a:latin typeface="+mn-lt"/>
              </a:rPr>
              <a:t>byte</a:t>
            </a:r>
            <a:r>
              <a:rPr lang="de-DE" sz="800">
                <a:solidFill>
                  <a:schemeClr val="tx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23919503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erfolie weiß">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tx1"/>
                </a:solidFill>
              </a:defRPr>
            </a:lvl1pPr>
          </a:lstStyle>
          <a:p>
            <a:r>
              <a:rPr lang="de-DE"/>
              <a:t>| </a:t>
            </a:r>
            <a:fld id="{5B7B5FAE-4D42-4F2F-8ACA-4394B12465EF}" type="datetime1">
              <a:rPr lang="de-DE" smtClean="0">
                <a:latin typeface="+mn-lt"/>
              </a:rPr>
              <a:p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tx1"/>
                </a:solidFill>
                <a:latin typeface="+mn-lt"/>
              </a:rPr>
              <a:t>byte</a:t>
            </a:r>
            <a:r>
              <a:rPr lang="de-DE" sz="800">
                <a:solidFill>
                  <a:schemeClr val="tx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23919503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rennerfolie weiß">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tx1"/>
                </a:solidFill>
              </a:defRPr>
            </a:lvl1pPr>
          </a:lstStyle>
          <a:p>
            <a:r>
              <a:rPr lang="de-DE"/>
              <a:t>| </a:t>
            </a:r>
            <a:fld id="{5B7B5FAE-4D42-4F2F-8ACA-4394B12465EF}" type="datetime1">
              <a:rPr lang="de-DE" smtClean="0">
                <a:latin typeface="+mn-lt"/>
              </a:rPr>
              <a:p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tx1"/>
                </a:solidFill>
                <a:latin typeface="+mn-lt"/>
              </a:rPr>
              <a:t>byte</a:t>
            </a:r>
            <a:r>
              <a:rPr lang="de-DE" sz="800">
                <a:solidFill>
                  <a:schemeClr val="tx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23919503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tement_hell">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ACCE8D5-DB32-601B-BEA8-E293D139602A}"/>
              </a:ext>
            </a:extLst>
          </p:cNvPr>
          <p:cNvGraphicFramePr>
            <a:graphicFrameLocks noChangeAspect="1"/>
          </p:cNvGraphicFramePr>
          <p:nvPr userDrawn="1">
            <p:custDataLst>
              <p:tags r:id="rId1"/>
            </p:custDataLst>
            <p:extLst>
              <p:ext uri="{D42A27DB-BD31-4B8C-83A1-F6EECF244321}">
                <p14:modId xmlns:p14="http://schemas.microsoft.com/office/powerpoint/2010/main" val="13767834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AACCE8D5-DB32-601B-BEA8-E293D139602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Gradient">
            <a:extLst>
              <a:ext uri="{FF2B5EF4-FFF2-40B4-BE49-F238E27FC236}">
                <a16:creationId xmlns:a16="http://schemas.microsoft.com/office/drawing/2014/main" id="{0792EFCA-F022-439D-29FB-D36EBF079297}"/>
              </a:ext>
            </a:extLst>
          </p:cNvPr>
          <p:cNvSpPr/>
          <p:nvPr userDrawn="1"/>
        </p:nvSpPr>
        <p:spPr>
          <a:xfrm>
            <a:off x="0" y="6201624"/>
            <a:ext cx="12192000" cy="656375"/>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sp>
        <p:nvSpPr>
          <p:cNvPr id="2" name="Titel 1">
            <a:extLst>
              <a:ext uri="{FF2B5EF4-FFF2-40B4-BE49-F238E27FC236}">
                <a16:creationId xmlns:a16="http://schemas.microsoft.com/office/drawing/2014/main" id="{4013B1EC-95E7-EC42-94DE-B3ACC20C58B3}"/>
              </a:ext>
            </a:extLst>
          </p:cNvPr>
          <p:cNvSpPr>
            <a:spLocks noGrp="1"/>
          </p:cNvSpPr>
          <p:nvPr>
            <p:ph type="ctrTitle" hasCustomPrompt="1"/>
          </p:nvPr>
        </p:nvSpPr>
        <p:spPr>
          <a:xfrm>
            <a:off x="1485899" y="1844675"/>
            <a:ext cx="9220201" cy="3168650"/>
          </a:xfrm>
        </p:spPr>
        <p:txBody>
          <a:bodyPr vert="horz" anchor="b">
            <a:noAutofit/>
          </a:bodyPr>
          <a:lstStyle>
            <a:lvl1pPr algn="l">
              <a:defRPr sz="4000">
                <a:solidFill>
                  <a:schemeClr val="tx1"/>
                </a:solidFill>
                <a:latin typeface="+mj-lt"/>
              </a:defRPr>
            </a:lvl1pPr>
          </a:lstStyle>
          <a:p>
            <a:r>
              <a:rPr lang="de-DE" noProof="0"/>
              <a:t>Klicke hier um einen Action Title einzufügen.</a:t>
            </a:r>
          </a:p>
        </p:txBody>
      </p:sp>
      <p:sp>
        <p:nvSpPr>
          <p:cNvPr id="8" name="Footer Placeholder 7">
            <a:extLst>
              <a:ext uri="{FF2B5EF4-FFF2-40B4-BE49-F238E27FC236}">
                <a16:creationId xmlns:a16="http://schemas.microsoft.com/office/drawing/2014/main" id="{D3593499-5239-F970-B122-FACB7097B7B3}"/>
              </a:ext>
            </a:extLst>
          </p:cNvPr>
          <p:cNvSpPr>
            <a:spLocks noGrp="1"/>
          </p:cNvSpPr>
          <p:nvPr>
            <p:ph type="ftr" sz="quarter" idx="10"/>
          </p:nvPr>
        </p:nvSpPr>
        <p:spPr/>
        <p:txBody>
          <a:bodyPr/>
          <a:lstStyle>
            <a:lvl1pPr>
              <a:defRPr>
                <a:solidFill>
                  <a:schemeClr val="bg1"/>
                </a:solidFill>
              </a:defRPr>
            </a:lvl1pPr>
          </a:lstStyle>
          <a:p>
            <a:r>
              <a:rPr lang="en-GB"/>
              <a:t>byte – Bayerische Agentur für Digitales</a:t>
            </a:r>
          </a:p>
        </p:txBody>
      </p:sp>
      <p:sp>
        <p:nvSpPr>
          <p:cNvPr id="10" name="Slide Number Placeholder 9">
            <a:extLst>
              <a:ext uri="{FF2B5EF4-FFF2-40B4-BE49-F238E27FC236}">
                <a16:creationId xmlns:a16="http://schemas.microsoft.com/office/drawing/2014/main" id="{1DD2D9F4-C401-565E-654E-AA75722C6CD0}"/>
              </a:ext>
            </a:extLst>
          </p:cNvPr>
          <p:cNvSpPr>
            <a:spLocks noGrp="1"/>
          </p:cNvSpPr>
          <p:nvPr>
            <p:ph type="sldNum" sz="quarter" idx="11"/>
          </p:nvPr>
        </p:nvSpPr>
        <p:spPr/>
        <p:txBody>
          <a:bodyPr/>
          <a:lstStyle>
            <a:lvl1pPr>
              <a:defRPr>
                <a:solidFill>
                  <a:schemeClr val="bg1"/>
                </a:solidFill>
              </a:defRPr>
            </a:lvl1pPr>
          </a:lstStyle>
          <a:p>
            <a:fld id="{0016BBAD-09BD-6243-A9CA-D1F4B193196B}" type="slidenum">
              <a:rPr lang="en-GB" smtClean="0"/>
              <a:pPr/>
              <a:t>‹Nr.›</a:t>
            </a:fld>
            <a:endParaRPr lang="en-GB"/>
          </a:p>
        </p:txBody>
      </p:sp>
      <p:pic>
        <p:nvPicPr>
          <p:cNvPr id="14" name="Grafik 9">
            <a:extLst>
              <a:ext uri="{FF2B5EF4-FFF2-40B4-BE49-F238E27FC236}">
                <a16:creationId xmlns:a16="http://schemas.microsoft.com/office/drawing/2014/main" id="{F37C03BD-A119-0E5A-1239-3218B40517A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20158" y="95952"/>
            <a:ext cx="2312574" cy="780869"/>
          </a:xfrm>
          <a:prstGeom prst="rect">
            <a:avLst/>
          </a:prstGeom>
        </p:spPr>
      </p:pic>
      <p:sp>
        <p:nvSpPr>
          <p:cNvPr id="11" name="Text Placeholder 7">
            <a:extLst>
              <a:ext uri="{FF2B5EF4-FFF2-40B4-BE49-F238E27FC236}">
                <a16:creationId xmlns:a16="http://schemas.microsoft.com/office/drawing/2014/main" id="{41740FE9-1137-5B08-94FB-35E7C600528D}"/>
              </a:ext>
            </a:extLst>
          </p:cNvPr>
          <p:cNvSpPr>
            <a:spLocks noGrp="1"/>
          </p:cNvSpPr>
          <p:nvPr>
            <p:ph type="body" sz="quarter" idx="12" hasCustomPrompt="1"/>
          </p:nvPr>
        </p:nvSpPr>
        <p:spPr>
          <a:xfrm>
            <a:off x="4051300" y="152400"/>
            <a:ext cx="5024992" cy="180975"/>
          </a:xfrm>
        </p:spPr>
        <p:txBody>
          <a:bodyPr anchor="ctr">
            <a:noAutofit/>
          </a:bodyPr>
          <a:lstStyle>
            <a:lvl1pPr algn="r">
              <a:defRPr sz="900">
                <a:solidFill>
                  <a:schemeClr val="accent2"/>
                </a:solidFill>
              </a:defRPr>
            </a:lvl1pPr>
          </a:lstStyle>
          <a:p>
            <a:pPr lvl="0"/>
            <a:r>
              <a:rPr lang="de-DE" noProof="0"/>
              <a:t>Kapitel ➝ Thema</a:t>
            </a:r>
          </a:p>
        </p:txBody>
      </p:sp>
      <p:pic>
        <p:nvPicPr>
          <p:cNvPr id="12" name="Grafik 2">
            <a:extLst>
              <a:ext uri="{FF2B5EF4-FFF2-40B4-BE49-F238E27FC236}">
                <a16:creationId xmlns:a16="http://schemas.microsoft.com/office/drawing/2014/main" id="{3D0248E5-CF2E-C445-8560-8187975D146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4675" y="5805488"/>
            <a:ext cx="7511042" cy="790574"/>
          </a:xfrm>
          <a:prstGeom prst="rect">
            <a:avLst/>
          </a:prstGeom>
        </p:spPr>
      </p:pic>
    </p:spTree>
    <p:extLst>
      <p:ext uri="{BB962C8B-B14F-4D97-AF65-F5344CB8AC3E}">
        <p14:creationId xmlns:p14="http://schemas.microsoft.com/office/powerpoint/2010/main" val="29347486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rennerfolie weiß">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tx1"/>
                </a:solidFill>
              </a:defRPr>
            </a:lvl1pPr>
          </a:lstStyle>
          <a:p>
            <a:r>
              <a:rPr lang="de-DE"/>
              <a:t>| </a:t>
            </a:r>
            <a:fld id="{5B7B5FAE-4D42-4F2F-8ACA-4394B12465EF}" type="datetime1">
              <a:rPr lang="de-DE" smtClean="0">
                <a:latin typeface="+mn-lt"/>
              </a:rPr>
              <a:p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tx1"/>
                </a:solidFill>
                <a:latin typeface="+mn-lt"/>
              </a:rPr>
              <a:t>byte</a:t>
            </a:r>
            <a:r>
              <a:rPr lang="de-DE" sz="800">
                <a:solidFill>
                  <a:schemeClr val="tx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23919503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rennerfoli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870AF8-4F01-5146-826A-83D019D02A45}"/>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bg1"/>
                </a:solidFill>
              </a:defRPr>
            </a:lvl1pPr>
          </a:lstStyle>
          <a:p>
            <a:r>
              <a:rPr lang="de-DE"/>
              <a:t>| </a:t>
            </a:r>
            <a:fld id="{5B7B5FAE-4D42-4F2F-8ACA-4394B12465EF}"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bg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bg1"/>
                </a:solidFill>
                <a:latin typeface="+mn-lt"/>
              </a:rPr>
              <a:t>byte</a:t>
            </a:r>
            <a:r>
              <a:rPr lang="de-DE" sz="800">
                <a:solidFill>
                  <a:schemeClr val="bg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bg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bg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489152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rennerfolie weiß">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tx1"/>
                </a:solidFill>
              </a:defRPr>
            </a:lvl1pPr>
          </a:lstStyle>
          <a:p>
            <a:r>
              <a:rPr lang="de-DE"/>
              <a:t>| </a:t>
            </a:r>
            <a:fld id="{5B7B5FAE-4D42-4F2F-8ACA-4394B12465EF}" type="datetime1">
              <a:rPr lang="de-DE" smtClean="0">
                <a:latin typeface="+mn-lt"/>
              </a:rPr>
              <a:p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tx1"/>
                </a:solidFill>
                <a:latin typeface="+mn-lt"/>
              </a:rPr>
              <a:t>byte</a:t>
            </a:r>
            <a:r>
              <a:rPr lang="de-DE" sz="800">
                <a:solidFill>
                  <a:schemeClr val="tx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23919503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D307C9D-3453-6F71-D886-68BC361F14D9}"/>
              </a:ext>
            </a:extLst>
          </p:cNvPr>
          <p:cNvSpPr/>
          <p:nvPr userDrawn="1"/>
        </p:nvSpPr>
        <p:spPr>
          <a:xfrm>
            <a:off x="0" y="0"/>
            <a:ext cx="12192000" cy="515566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5" name="Grafik 4">
            <a:extLst>
              <a:ext uri="{FF2B5EF4-FFF2-40B4-BE49-F238E27FC236}">
                <a16:creationId xmlns:a16="http://schemas.microsoft.com/office/drawing/2014/main" id="{7E4A445E-C6CD-DB06-4E02-4F47EE484E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0681" y="4692948"/>
            <a:ext cx="8836170" cy="893066"/>
          </a:xfrm>
          <a:prstGeom prst="rect">
            <a:avLst/>
          </a:prstGeom>
        </p:spPr>
      </p:pic>
      <p:sp>
        <p:nvSpPr>
          <p:cNvPr id="4" name="Datumsplatzhalter 3">
            <a:extLst>
              <a:ext uri="{FF2B5EF4-FFF2-40B4-BE49-F238E27FC236}">
                <a16:creationId xmlns:a16="http://schemas.microsoft.com/office/drawing/2014/main" id="{5B2E855C-148D-336D-9F69-3806F351A11B}"/>
              </a:ext>
            </a:extLst>
          </p:cNvPr>
          <p:cNvSpPr>
            <a:spLocks noGrp="1"/>
          </p:cNvSpPr>
          <p:nvPr>
            <p:ph type="dt" sz="half" idx="10"/>
          </p:nvPr>
        </p:nvSpPr>
        <p:spPr/>
        <p:txBody>
          <a:bodyPr/>
          <a:lstStyle/>
          <a:p>
            <a:r>
              <a:rPr lang="de-DE"/>
              <a:t>| </a:t>
            </a:r>
            <a:fld id="{C787BBCD-06CF-477E-B60F-F70D590EB116}" type="datetime1">
              <a:rPr lang="de-DE" smtClean="0"/>
              <a:t>18.01.24</a:t>
            </a:fld>
            <a:endParaRPr lang="de-DE"/>
          </a:p>
        </p:txBody>
      </p:sp>
      <p:sp>
        <p:nvSpPr>
          <p:cNvPr id="7" name="Textfeld 6">
            <a:extLst>
              <a:ext uri="{FF2B5EF4-FFF2-40B4-BE49-F238E27FC236}">
                <a16:creationId xmlns:a16="http://schemas.microsoft.com/office/drawing/2014/main" id="{E64A5574-388D-AEB3-8658-DF7E4F8CA354}"/>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latin typeface="+mj-lt"/>
              </a:rPr>
              <a:t>byte</a:t>
            </a:r>
            <a:r>
              <a:rPr lang="de-DE" sz="800">
                <a:latin typeface="+mn-lt"/>
              </a:rPr>
              <a:t> – Bayerische Agentur für Digitales</a:t>
            </a:r>
          </a:p>
        </p:txBody>
      </p:sp>
      <p:sp>
        <p:nvSpPr>
          <p:cNvPr id="12" name="Textfeld 11">
            <a:extLst>
              <a:ext uri="{FF2B5EF4-FFF2-40B4-BE49-F238E27FC236}">
                <a16:creationId xmlns:a16="http://schemas.microsoft.com/office/drawing/2014/main" id="{ADBC390A-3C69-C377-6367-44DA1A2F0C0F}"/>
              </a:ext>
            </a:extLst>
          </p:cNvPr>
          <p:cNvSpPr txBox="1">
            <a:spLocks/>
          </p:cNvSpPr>
          <p:nvPr userDrawn="1"/>
        </p:nvSpPr>
        <p:spPr>
          <a:xfrm>
            <a:off x="587375" y="5930091"/>
            <a:ext cx="1928812" cy="246221"/>
          </a:xfrm>
          <a:prstGeom prst="rect">
            <a:avLst/>
          </a:prstGeom>
          <a:noFill/>
        </p:spPr>
        <p:txBody>
          <a:bodyPr wrap="square" lIns="0" tIns="0" rIns="0" bIns="0" rtlCol="0">
            <a:spAutoFit/>
          </a:bodyPr>
          <a:lstStyle/>
          <a:p>
            <a:r>
              <a:rPr lang="de-DE" sz="1600" err="1">
                <a:latin typeface="+mj-lt"/>
              </a:rPr>
              <a:t>byte.bayern</a:t>
            </a:r>
            <a:endParaRPr lang="de-DE" sz="1600">
              <a:latin typeface="+mj-lt"/>
            </a:endParaRPr>
          </a:p>
        </p:txBody>
      </p:sp>
      <p:cxnSp>
        <p:nvCxnSpPr>
          <p:cNvPr id="14" name="Gerader Verbinder 13">
            <a:extLst>
              <a:ext uri="{FF2B5EF4-FFF2-40B4-BE49-F238E27FC236}">
                <a16:creationId xmlns:a16="http://schemas.microsoft.com/office/drawing/2014/main" id="{C1C5AE54-951F-6266-B315-8D3BB7762EC0}"/>
              </a:ext>
            </a:extLst>
          </p:cNvPr>
          <p:cNvCxnSpPr>
            <a:cxnSpLocks/>
          </p:cNvCxnSpPr>
          <p:nvPr userDrawn="1"/>
        </p:nvCxnSpPr>
        <p:spPr>
          <a:xfrm>
            <a:off x="599280" y="6208496"/>
            <a:ext cx="116522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4FD383E7-1A92-7BE2-8D0C-705B28D89A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55112" y="195211"/>
            <a:ext cx="5822379" cy="6062346"/>
          </a:xfrm>
          <a:prstGeom prst="rect">
            <a:avLst/>
          </a:prstGeom>
        </p:spPr>
      </p:pic>
      <p:grpSp>
        <p:nvGrpSpPr>
          <p:cNvPr id="56" name="Gruppieren 55">
            <a:extLst>
              <a:ext uri="{FF2B5EF4-FFF2-40B4-BE49-F238E27FC236}">
                <a16:creationId xmlns:a16="http://schemas.microsoft.com/office/drawing/2014/main" id="{7BD90753-3021-299D-7D63-5F13EF573FA8}"/>
              </a:ext>
            </a:extLst>
          </p:cNvPr>
          <p:cNvGrpSpPr/>
          <p:nvPr userDrawn="1"/>
        </p:nvGrpSpPr>
        <p:grpSpPr>
          <a:xfrm>
            <a:off x="11115518" y="188913"/>
            <a:ext cx="884395" cy="1075002"/>
            <a:chOff x="12265626" y="195630"/>
            <a:chExt cx="884395" cy="1075002"/>
          </a:xfrm>
        </p:grpSpPr>
        <p:sp>
          <p:nvSpPr>
            <p:cNvPr id="13" name="Freihandform: Form 12">
              <a:extLst>
                <a:ext uri="{FF2B5EF4-FFF2-40B4-BE49-F238E27FC236}">
                  <a16:creationId xmlns:a16="http://schemas.microsoft.com/office/drawing/2014/main" id="{1A7D6FA3-216D-4D0B-3D01-351BDF09B816}"/>
                </a:ext>
              </a:extLst>
            </p:cNvPr>
            <p:cNvSpPr/>
            <p:nvPr/>
          </p:nvSpPr>
          <p:spPr>
            <a:xfrm>
              <a:off x="12265626" y="195630"/>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1A95F69C-A6ED-B75D-473D-355182F1076F}"/>
                </a:ext>
              </a:extLst>
            </p:cNvPr>
            <p:cNvSpPr/>
            <p:nvPr/>
          </p:nvSpPr>
          <p:spPr>
            <a:xfrm>
              <a:off x="12793204"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1AE5FF5C-FE2F-16DD-06BB-D58420FBC9A4}"/>
                </a:ext>
              </a:extLst>
            </p:cNvPr>
            <p:cNvSpPr/>
            <p:nvPr/>
          </p:nvSpPr>
          <p:spPr>
            <a:xfrm>
              <a:off x="12910626" y="546759"/>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798D9137-7211-DA54-2F04-CAA274E6D0E5}"/>
                </a:ext>
              </a:extLst>
            </p:cNvPr>
            <p:cNvSpPr/>
            <p:nvPr/>
          </p:nvSpPr>
          <p:spPr>
            <a:xfrm>
              <a:off x="12675908" y="42946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AD079D00-EDC0-B490-0CC9-47D5DD869753}"/>
                </a:ext>
              </a:extLst>
            </p:cNvPr>
            <p:cNvSpPr/>
            <p:nvPr/>
          </p:nvSpPr>
          <p:spPr>
            <a:xfrm>
              <a:off x="12675908"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a:p>
          </p:txBody>
        </p:sp>
        <p:grpSp>
          <p:nvGrpSpPr>
            <p:cNvPr id="55" name="Gruppieren 54">
              <a:extLst>
                <a:ext uri="{FF2B5EF4-FFF2-40B4-BE49-F238E27FC236}">
                  <a16:creationId xmlns:a16="http://schemas.microsoft.com/office/drawing/2014/main" id="{67DC14F6-9C3C-1EB9-E163-2DBF6CD69B06}"/>
                </a:ext>
              </a:extLst>
            </p:cNvPr>
            <p:cNvGrpSpPr/>
            <p:nvPr userDrawn="1"/>
          </p:nvGrpSpPr>
          <p:grpSpPr>
            <a:xfrm>
              <a:off x="12266005" y="1135893"/>
              <a:ext cx="883889" cy="134739"/>
              <a:chOff x="12266005" y="1135893"/>
              <a:chExt cx="883889" cy="134739"/>
            </a:xfrm>
            <a:solidFill>
              <a:schemeClr val="bg1"/>
            </a:solidFill>
          </p:grpSpPr>
          <p:sp>
            <p:nvSpPr>
              <p:cNvPr id="19" name="Freihandform: Form 18">
                <a:extLst>
                  <a:ext uri="{FF2B5EF4-FFF2-40B4-BE49-F238E27FC236}">
                    <a16:creationId xmlns:a16="http://schemas.microsoft.com/office/drawing/2014/main" id="{697D518C-2DFB-E884-722C-DABC8DEC4503}"/>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0E8B9DA1-DED6-0323-7A41-CF61CDE178CF}"/>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E437B576-28AF-5C33-CF1B-AC9406D47265}"/>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CDC8B612-AD28-A078-05C8-C62EBACF8471}"/>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E53AFD93-875D-28F4-8D3F-256DFC42D50B}"/>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5A553ACF-8429-A847-01A1-0DBA467C4F95}"/>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8C00DFD7-0E2E-A2FC-64D7-3FB5FAA74377}"/>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065EC948-9DD0-99F7-1337-6B28A6182D19}"/>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1D94F2C1-B577-133E-873F-06F187F9A361}"/>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8AE56AAE-5784-63D7-24E2-D3B4E73029BC}"/>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D70E0420-8DD0-9CAC-AB38-52FD7179C79C}"/>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442220EB-6E2F-EBBC-6B0E-0106AB4F829C}"/>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05CF614C-285B-8387-A510-CBA52CF878AC}"/>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AF3E4228-4D6C-21F0-8F60-23B75FE0BB16}"/>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C0F88BC8-C342-712F-359A-D6D059B9747F}"/>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86821013-7BAC-5F1E-DB57-BFD53C65CA99}"/>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86AF4C2C-556F-08F6-5BE0-1E442B39ABF1}"/>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D62C5642-9678-7138-A80D-96DF69BCF80C}"/>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D57FD682-CC26-5A8D-9A38-47DEAF06956C}"/>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C2A917DB-2AB9-90DF-2CB5-5D700D011914}"/>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3E16C891-99C5-57CE-21B3-FBE5E347A4B1}"/>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1B92D7A6-E1CD-690D-B9EF-E8CC43B3BD83}"/>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6F214B38-B228-CD81-934D-213ADB5D36C6}"/>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8A29BB7F-42D4-9554-EFF6-33E83DBABAB8}"/>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F2417695-5450-9254-855B-394B582B8827}"/>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E0776AD0-C0C5-DDCB-0F11-239A7D1DF3DB}"/>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3C28BEE8-9E7D-B872-14A0-56716185B367}"/>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9E4E41C3-1708-2337-9CDA-32A9E7322277}"/>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2B414A1-6ED3-AE15-3C79-B5C24B709656}"/>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a:p>
            </p:txBody>
          </p:sp>
        </p:grpSp>
        <p:sp>
          <p:nvSpPr>
            <p:cNvPr id="49" name="Freihandform: Form 48">
              <a:extLst>
                <a:ext uri="{FF2B5EF4-FFF2-40B4-BE49-F238E27FC236}">
                  <a16:creationId xmlns:a16="http://schemas.microsoft.com/office/drawing/2014/main" id="{0351055E-64F6-A13A-CBD0-0C96CD46F302}"/>
                </a:ext>
              </a:extLst>
            </p:cNvPr>
            <p:cNvSpPr/>
            <p:nvPr/>
          </p:nvSpPr>
          <p:spPr>
            <a:xfrm>
              <a:off x="12334891" y="759990"/>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9FECC564-6171-4BAE-3A2A-B5AF38840709}"/>
                </a:ext>
              </a:extLst>
            </p:cNvPr>
            <p:cNvSpPr/>
            <p:nvPr/>
          </p:nvSpPr>
          <p:spPr>
            <a:xfrm>
              <a:off x="12553430" y="808779"/>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036227CC-1209-F626-FD03-08BE9B99CDB9}"/>
                </a:ext>
              </a:extLst>
            </p:cNvPr>
            <p:cNvSpPr/>
            <p:nvPr/>
          </p:nvSpPr>
          <p:spPr>
            <a:xfrm>
              <a:off x="12773234" y="761759"/>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B7563670-DF43-DC4A-BF7B-7D365F6FC62E}"/>
                </a:ext>
              </a:extLst>
            </p:cNvPr>
            <p:cNvSpPr/>
            <p:nvPr/>
          </p:nvSpPr>
          <p:spPr>
            <a:xfrm>
              <a:off x="12930218" y="808273"/>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A2DBAF41-3D65-0EEF-5D6B-B1239F9B6CEA}"/>
                </a:ext>
              </a:extLst>
            </p:cNvPr>
            <p:cNvSpPr/>
            <p:nvPr/>
          </p:nvSpPr>
          <p:spPr>
            <a:xfrm>
              <a:off x="12910626"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D5679D79-D912-7434-A2A1-CCF5FFAC1755}"/>
                </a:ext>
              </a:extLst>
            </p:cNvPr>
            <p:cNvSpPr/>
            <p:nvPr/>
          </p:nvSpPr>
          <p:spPr>
            <a:xfrm>
              <a:off x="12910626"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4013B1EC-95E7-EC42-94DE-B3ACC20C58B3}"/>
              </a:ext>
            </a:extLst>
          </p:cNvPr>
          <p:cNvSpPr>
            <a:spLocks noGrp="1"/>
          </p:cNvSpPr>
          <p:nvPr>
            <p:ph type="ctrTitle"/>
          </p:nvPr>
        </p:nvSpPr>
        <p:spPr>
          <a:xfrm>
            <a:off x="587375" y="1598228"/>
            <a:ext cx="8424863" cy="2283311"/>
          </a:xfrm>
        </p:spPr>
        <p:txBody>
          <a:bodyPr anchor="t">
            <a:noAutofit/>
          </a:bodyPr>
          <a:lstStyle>
            <a:lvl1pPr algn="l">
              <a:defRPr sz="4800">
                <a:solidFill>
                  <a:schemeClr val="bg1"/>
                </a:solidFill>
                <a:latin typeface="+mn-lt"/>
              </a:defRPr>
            </a:lvl1pPr>
          </a:lstStyle>
          <a:p>
            <a:r>
              <a:rPr lang="de-DE"/>
              <a:t>Mastertitelformat bearbeiten</a:t>
            </a:r>
          </a:p>
        </p:txBody>
      </p:sp>
    </p:spTree>
    <p:extLst>
      <p:ext uri="{BB962C8B-B14F-4D97-AF65-F5344CB8AC3E}">
        <p14:creationId xmlns:p14="http://schemas.microsoft.com/office/powerpoint/2010/main" val="35546260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rennerfoli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870AF8-4F01-5146-826A-83D019D02A45}"/>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bg1"/>
                </a:solidFill>
              </a:defRPr>
            </a:lvl1pPr>
          </a:lstStyle>
          <a:p>
            <a:r>
              <a:rPr lang="de-DE"/>
              <a:t>| </a:t>
            </a:r>
            <a:fld id="{5B7B5FAE-4D42-4F2F-8ACA-4394B12465EF}"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bg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bg1"/>
                </a:solidFill>
                <a:latin typeface="+mn-lt"/>
              </a:rPr>
              <a:t>byte</a:t>
            </a:r>
            <a:r>
              <a:rPr lang="de-DE" sz="800">
                <a:solidFill>
                  <a:schemeClr val="bg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bg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bg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489152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rennerfolie weiß">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lvl1pPr>
              <a:defRPr>
                <a:solidFill>
                  <a:schemeClr val="tx1"/>
                </a:solidFill>
              </a:defRPr>
            </a:lvl1pPr>
          </a:lstStyle>
          <a:p>
            <a:r>
              <a:rPr lang="de-DE"/>
              <a:t>| </a:t>
            </a:r>
            <a:fld id="{5B7B5FAE-4D42-4F2F-8ACA-4394B12465EF}" type="datetime1">
              <a:rPr lang="de-DE" smtClean="0">
                <a:latin typeface="+mn-lt"/>
              </a:rPr>
              <a:p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5" name="Textfeld 4">
            <a:extLst>
              <a:ext uri="{FF2B5EF4-FFF2-40B4-BE49-F238E27FC236}">
                <a16:creationId xmlns:a16="http://schemas.microsoft.com/office/drawing/2014/main" id="{7453E9FD-E340-C185-C77D-1AB204E1256D}"/>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tx1"/>
                </a:solidFill>
                <a:latin typeface="+mn-lt"/>
              </a:rPr>
              <a:t>byte</a:t>
            </a:r>
            <a:r>
              <a:rPr lang="de-DE" sz="800">
                <a:solidFill>
                  <a:schemeClr val="tx1"/>
                </a:solidFill>
                <a:latin typeface="+mn-lt"/>
              </a:rPr>
              <a:t> – Bayerische Agentur für Digitales</a:t>
            </a:r>
          </a:p>
        </p:txBody>
      </p:sp>
      <p:sp>
        <p:nvSpPr>
          <p:cNvPr id="10" name="Textplatzhalter 9">
            <a:extLst>
              <a:ext uri="{FF2B5EF4-FFF2-40B4-BE49-F238E27FC236}">
                <a16:creationId xmlns:a16="http://schemas.microsoft.com/office/drawing/2014/main" id="{667F9B96-18F1-6E3A-3C9B-729BEAA8A630}"/>
              </a:ext>
            </a:extLst>
          </p:cNvPr>
          <p:cNvSpPr>
            <a:spLocks noGrp="1"/>
          </p:cNvSpPr>
          <p:nvPr>
            <p:ph type="body" sz="quarter" idx="12"/>
          </p:nvPr>
        </p:nvSpPr>
        <p:spPr>
          <a:xfrm>
            <a:off x="587376" y="2268307"/>
            <a:ext cx="6784974" cy="615553"/>
          </a:xfrm>
          <a:prstGeom prst="rect">
            <a:avLst/>
          </a:prstGeom>
        </p:spPr>
        <p:txBody>
          <a:bodyPr>
            <a:noAutofit/>
          </a:bodyPr>
          <a:lstStyle>
            <a:lvl1pPr marL="0" indent="0">
              <a:lnSpc>
                <a:spcPct val="110000"/>
              </a:lnSpc>
              <a:buNone/>
              <a:defRPr sz="4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sp>
        <p:nvSpPr>
          <p:cNvPr id="13" name="Textplatzhalter 9">
            <a:extLst>
              <a:ext uri="{FF2B5EF4-FFF2-40B4-BE49-F238E27FC236}">
                <a16:creationId xmlns:a16="http://schemas.microsoft.com/office/drawing/2014/main" id="{FB839F36-682E-9678-6778-7020DBC4AE23}"/>
              </a:ext>
            </a:extLst>
          </p:cNvPr>
          <p:cNvSpPr>
            <a:spLocks noGrp="1"/>
          </p:cNvSpPr>
          <p:nvPr>
            <p:ph type="body" sz="quarter" idx="13"/>
          </p:nvPr>
        </p:nvSpPr>
        <p:spPr>
          <a:xfrm>
            <a:off x="587376" y="4119174"/>
            <a:ext cx="6784974" cy="314766"/>
          </a:xfrm>
          <a:prstGeom prst="rect">
            <a:avLst/>
          </a:prstGeom>
        </p:spPr>
        <p:txBody>
          <a:bodyPr>
            <a:noAutofit/>
          </a:bodyPr>
          <a:lstStyle>
            <a:lvl1pPr marL="0" indent="0">
              <a:lnSpc>
                <a:spcPct val="110000"/>
              </a:lnSpc>
              <a:spcBef>
                <a:spcPts val="0"/>
              </a:spcBef>
              <a:buNone/>
              <a:defRPr sz="2000">
                <a:solidFill>
                  <a:schemeClr val="tx1"/>
                </a:solidFill>
              </a:defRPr>
            </a:lvl1pPr>
            <a:lvl2pPr marL="179388" indent="0">
              <a:buNone/>
              <a:defRPr sz="4000">
                <a:solidFill>
                  <a:schemeClr val="bg1"/>
                </a:solidFill>
              </a:defRPr>
            </a:lvl2pPr>
            <a:lvl3pPr marL="360363" indent="0">
              <a:buNone/>
              <a:defRPr sz="4000">
                <a:solidFill>
                  <a:schemeClr val="bg1"/>
                </a:solidFill>
              </a:defRPr>
            </a:lvl3pPr>
            <a:lvl4pPr marL="1371600" indent="0">
              <a:buNone/>
              <a:defRPr sz="4000">
                <a:solidFill>
                  <a:schemeClr val="bg1"/>
                </a:solidFill>
              </a:defRPr>
            </a:lvl4pPr>
            <a:lvl5pPr marL="1828800" indent="0">
              <a:buNone/>
              <a:defRPr sz="4000">
                <a:solidFill>
                  <a:schemeClr val="bg1"/>
                </a:solidFill>
              </a:defRPr>
            </a:lvl5pPr>
          </a:lstStyle>
          <a:p>
            <a:pPr lvl="0"/>
            <a:endParaRPr lang="de-DE"/>
          </a:p>
        </p:txBody>
      </p:sp>
      <p:pic>
        <p:nvPicPr>
          <p:cNvPr id="6" name="Grafik 5">
            <a:extLst>
              <a:ext uri="{FF2B5EF4-FFF2-40B4-BE49-F238E27FC236}">
                <a16:creationId xmlns:a16="http://schemas.microsoft.com/office/drawing/2014/main" id="{8C75FB7B-B6FF-E6F6-D10D-14585660271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spTree>
    <p:extLst>
      <p:ext uri="{BB962C8B-B14F-4D97-AF65-F5344CB8AC3E}">
        <p14:creationId xmlns:p14="http://schemas.microsoft.com/office/powerpoint/2010/main" val="23919503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eere_Sei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419BDB-0AAD-52FA-4D51-7E0CFFD153E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FA977BC-FCBB-9E58-8CC4-96000C203994}"/>
              </a:ext>
            </a:extLst>
          </p:cNvPr>
          <p:cNvSpPr>
            <a:spLocks noGrp="1"/>
          </p:cNvSpPr>
          <p:nvPr>
            <p:ph type="dt" sz="half" idx="10"/>
          </p:nvPr>
        </p:nvSpPr>
        <p:spPr/>
        <p:txBody>
          <a:bodyPr/>
          <a:lstStyle/>
          <a:p>
            <a:r>
              <a:rPr lang="de-DE"/>
              <a:t>| </a:t>
            </a:r>
            <a:fld id="{31EA475C-CC8F-4C3C-8236-4449500701E8}"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09609812-B466-8CD6-0CD4-EE249AA00333}"/>
              </a:ext>
            </a:extLst>
          </p:cNvPr>
          <p:cNvSpPr>
            <a:spLocks noGrp="1"/>
          </p:cNvSpPr>
          <p:nvPr>
            <p:ph type="sldNum" sz="quarter" idx="11"/>
          </p:nvPr>
        </p:nvSpPr>
        <p:spPr/>
        <p:txBody>
          <a:bodyPr/>
          <a:lstStyle/>
          <a:p>
            <a:r>
              <a:rPr lang="de-DE"/>
              <a:t>Seite </a:t>
            </a:r>
            <a:fld id="{F3829FEA-ED73-4A5A-98B4-E51078EAB7AC}" type="slidenum">
              <a:rPr lang="de-DE" smtClean="0">
                <a:latin typeface="+mj-lt"/>
              </a:rPr>
              <a:pPr/>
              <a:t>‹Nr.›</a:t>
            </a:fld>
            <a:endParaRPr lang="de-DE">
              <a:latin typeface="+mj-lt"/>
            </a:endParaRPr>
          </a:p>
        </p:txBody>
      </p:sp>
    </p:spTree>
    <p:extLst>
      <p:ext uri="{BB962C8B-B14F-4D97-AF65-F5344CB8AC3E}">
        <p14:creationId xmlns:p14="http://schemas.microsoft.com/office/powerpoint/2010/main" val="33020556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eere_Seite_Kar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E19A3E7D-AF1A-4D3E-822F-E9157DEA58F9}"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pic>
        <p:nvPicPr>
          <p:cNvPr id="10" name="Grafik 9">
            <a:extLst>
              <a:ext uri="{FF2B5EF4-FFF2-40B4-BE49-F238E27FC236}">
                <a16:creationId xmlns:a16="http://schemas.microsoft.com/office/drawing/2014/main" id="{3E7309EF-7677-83F4-1182-EF72098346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7762" y="188913"/>
            <a:ext cx="3232151" cy="1091376"/>
          </a:xfrm>
          <a:prstGeom prst="rect">
            <a:avLst/>
          </a:prstGeom>
        </p:spPr>
      </p:pic>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7216209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_Bi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47EF7EB3-6D1D-4B0B-B3F8-F3B2751CB2E6}"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bg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8" name="Textplatzhalter 7">
            <a:extLst>
              <a:ext uri="{FF2B5EF4-FFF2-40B4-BE49-F238E27FC236}">
                <a16:creationId xmlns:a16="http://schemas.microsoft.com/office/drawing/2014/main" id="{89AE22B5-7AB2-09E4-21D0-F7739B0B817B}"/>
              </a:ext>
            </a:extLst>
          </p:cNvPr>
          <p:cNvSpPr>
            <a:spLocks noGrp="1"/>
          </p:cNvSpPr>
          <p:nvPr>
            <p:ph type="body" sz="quarter" idx="13"/>
          </p:nvPr>
        </p:nvSpPr>
        <p:spPr>
          <a:xfrm>
            <a:off x="587375" y="1808163"/>
            <a:ext cx="5003800" cy="4608512"/>
          </a:xfrm>
          <a:prstGeom prst="rect">
            <a:avLst/>
          </a:prstGeom>
        </p:spPr>
        <p:txBody>
          <a:bodyPr/>
          <a:lstStyle/>
          <a:p>
            <a:pPr lvl="0"/>
            <a:r>
              <a:rPr lang="de-DE"/>
              <a:t>Mastertextformat bearbeiten</a:t>
            </a:r>
          </a:p>
          <a:p>
            <a:pPr lvl="1"/>
            <a:r>
              <a:rPr lang="de-DE"/>
              <a:t>Zweite Ebene</a:t>
            </a:r>
          </a:p>
          <a:p>
            <a:pPr lvl="2"/>
            <a:r>
              <a:rPr lang="de-DE"/>
              <a:t>Dritte Ebene</a:t>
            </a:r>
          </a:p>
        </p:txBody>
      </p:sp>
      <p:pic>
        <p:nvPicPr>
          <p:cNvPr id="10" name="Grafik 9">
            <a:extLst>
              <a:ext uri="{FF2B5EF4-FFF2-40B4-BE49-F238E27FC236}">
                <a16:creationId xmlns:a16="http://schemas.microsoft.com/office/drawing/2014/main" id="{3E7309EF-7677-83F4-1182-EF72098346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7762" y="188913"/>
            <a:ext cx="3232151" cy="1091376"/>
          </a:xfrm>
          <a:prstGeom prst="rect">
            <a:avLst/>
          </a:prstGeom>
        </p:spPr>
      </p:pic>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7" name="Inhaltsplatzhalter 6">
            <a:extLst>
              <a:ext uri="{FF2B5EF4-FFF2-40B4-BE49-F238E27FC236}">
                <a16:creationId xmlns:a16="http://schemas.microsoft.com/office/drawing/2014/main" id="{4C7D3B05-D223-E375-DB5B-382B12E9D9DB}"/>
              </a:ext>
            </a:extLst>
          </p:cNvPr>
          <p:cNvSpPr>
            <a:spLocks noGrp="1"/>
          </p:cNvSpPr>
          <p:nvPr>
            <p:ph sz="quarter" idx="14" hasCustomPrompt="1"/>
          </p:nvPr>
        </p:nvSpPr>
        <p:spPr>
          <a:xfrm>
            <a:off x="6167438" y="1808163"/>
            <a:ext cx="6024562" cy="5049837"/>
          </a:xfrm>
          <a:noFill/>
        </p:spPr>
        <p:txBody>
          <a:bodyPr anchor="ctr"/>
          <a:lstStyle>
            <a:lvl1pPr algn="ctr">
              <a:defRPr b="0">
                <a:latin typeface="+mj-lt"/>
              </a:defRPr>
            </a:lvl1pPr>
          </a:lstStyle>
          <a:p>
            <a:pPr lvl="0"/>
            <a:r>
              <a:rPr lang="de-DE"/>
              <a:t>Grafik/Foto</a:t>
            </a:r>
          </a:p>
        </p:txBody>
      </p:sp>
    </p:spTree>
    <p:extLst>
      <p:ext uri="{BB962C8B-B14F-4D97-AF65-F5344CB8AC3E}">
        <p14:creationId xmlns:p14="http://schemas.microsoft.com/office/powerpoint/2010/main" val="39948798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_Diagramm/Grafi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BB930E02-B67C-482C-94F5-D026518CC16A}"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8" name="Textplatzhalter 7">
            <a:extLst>
              <a:ext uri="{FF2B5EF4-FFF2-40B4-BE49-F238E27FC236}">
                <a16:creationId xmlns:a16="http://schemas.microsoft.com/office/drawing/2014/main" id="{89AE22B5-7AB2-09E4-21D0-F7739B0B817B}"/>
              </a:ext>
            </a:extLst>
          </p:cNvPr>
          <p:cNvSpPr>
            <a:spLocks noGrp="1"/>
          </p:cNvSpPr>
          <p:nvPr>
            <p:ph type="body" sz="quarter" idx="13"/>
          </p:nvPr>
        </p:nvSpPr>
        <p:spPr>
          <a:xfrm>
            <a:off x="587375" y="1808163"/>
            <a:ext cx="5003800" cy="4608512"/>
          </a:xfrm>
          <a:prstGeom prst="rect">
            <a:avLst/>
          </a:prstGeom>
        </p:spPr>
        <p:txBody>
          <a:bodyPr/>
          <a:lstStyle/>
          <a:p>
            <a:pPr lvl="0"/>
            <a:r>
              <a:rPr lang="de-DE"/>
              <a:t>Mastertextformat bearbeiten</a:t>
            </a:r>
          </a:p>
          <a:p>
            <a:pPr lvl="1"/>
            <a:r>
              <a:rPr lang="de-DE"/>
              <a:t>Zweite Ebene</a:t>
            </a:r>
          </a:p>
          <a:p>
            <a:pPr lvl="2"/>
            <a:r>
              <a:rPr lang="de-DE"/>
              <a:t>Dritte Ebene</a:t>
            </a:r>
          </a:p>
        </p:txBody>
      </p:sp>
      <p:pic>
        <p:nvPicPr>
          <p:cNvPr id="10" name="Grafik 9">
            <a:extLst>
              <a:ext uri="{FF2B5EF4-FFF2-40B4-BE49-F238E27FC236}">
                <a16:creationId xmlns:a16="http://schemas.microsoft.com/office/drawing/2014/main" id="{3E7309EF-7677-83F4-1182-EF72098346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7762" y="188913"/>
            <a:ext cx="3232151" cy="1091376"/>
          </a:xfrm>
          <a:prstGeom prst="rect">
            <a:avLst/>
          </a:prstGeom>
        </p:spPr>
      </p:pic>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7" name="Inhaltsplatzhalter 6">
            <a:extLst>
              <a:ext uri="{FF2B5EF4-FFF2-40B4-BE49-F238E27FC236}">
                <a16:creationId xmlns:a16="http://schemas.microsoft.com/office/drawing/2014/main" id="{9EE9E286-498F-F630-CF7E-CAD5AF426FF5}"/>
              </a:ext>
            </a:extLst>
          </p:cNvPr>
          <p:cNvSpPr>
            <a:spLocks noGrp="1"/>
          </p:cNvSpPr>
          <p:nvPr>
            <p:ph sz="quarter" idx="14" hasCustomPrompt="1"/>
          </p:nvPr>
        </p:nvSpPr>
        <p:spPr>
          <a:xfrm>
            <a:off x="6167438" y="1808164"/>
            <a:ext cx="5437187" cy="4608512"/>
          </a:xfrm>
          <a:noFill/>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21530962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folie_hel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505404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p>
            <a:r>
              <a:rPr lang="de-DE" noProof="0"/>
              <a:t>Klicke hier um einen Action Title einzufügen.</a:t>
            </a:r>
          </a:p>
        </p:txBody>
      </p:sp>
      <p:cxnSp>
        <p:nvCxnSpPr>
          <p:cNvPr id="11" name="Gerader Verbinder 15">
            <a:extLst>
              <a:ext uri="{FF2B5EF4-FFF2-40B4-BE49-F238E27FC236}">
                <a16:creationId xmlns:a16="http://schemas.microsoft.com/office/drawing/2014/main" id="{E68C9AC1-EA60-B9BC-A365-B318C997DDFC}"/>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9CE69AEF-AB50-D8DE-A0CB-C550A0A9E018}"/>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8E18B6C2-6FE9-14EE-CA7A-426690F55A0E}"/>
              </a:ext>
            </a:extLst>
          </p:cNvPr>
          <p:cNvSpPr>
            <a:spLocks noGrp="1"/>
          </p:cNvSpPr>
          <p:nvPr>
            <p:ph type="sldNum" sz="quarter" idx="14"/>
          </p:nvPr>
        </p:nvSpPr>
        <p:spPr/>
        <p:txBody>
          <a:bodyPr/>
          <a:lstStyle/>
          <a:p>
            <a:fld id="{0016BBAD-09BD-6243-A9CA-D1F4B193196B}" type="slidenum">
              <a:rPr lang="en-GB" smtClean="0"/>
              <a:pPr/>
              <a:t>‹Nr.›</a:t>
            </a:fld>
            <a:endParaRPr lang="en-GB"/>
          </a:p>
        </p:txBody>
      </p:sp>
      <p:sp>
        <p:nvSpPr>
          <p:cNvPr id="10" name="Text Placeholder 7">
            <a:extLst>
              <a:ext uri="{FF2B5EF4-FFF2-40B4-BE49-F238E27FC236}">
                <a16:creationId xmlns:a16="http://schemas.microsoft.com/office/drawing/2014/main" id="{E0A1565E-A193-D574-0F3D-13EAE1204CC2}"/>
              </a:ext>
            </a:extLst>
          </p:cNvPr>
          <p:cNvSpPr>
            <a:spLocks noGrp="1"/>
          </p:cNvSpPr>
          <p:nvPr>
            <p:ph type="body" sz="quarter" idx="15"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de-DE" noProof="0"/>
              <a:t>Kapitel ➝ Thema</a:t>
            </a:r>
          </a:p>
        </p:txBody>
      </p:sp>
    </p:spTree>
    <p:extLst>
      <p:ext uri="{BB962C8B-B14F-4D97-AF65-F5344CB8AC3E}">
        <p14:creationId xmlns:p14="http://schemas.microsoft.com/office/powerpoint/2010/main" val="330205564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spaltig_Bild/Grafik_Content">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A2EA841A-9B1D-CB8E-F434-DD747A2E9C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70535"/>
          <a:stretch/>
        </p:blipFill>
        <p:spPr>
          <a:xfrm>
            <a:off x="6095999" y="188914"/>
            <a:ext cx="5903913" cy="1811336"/>
          </a:xfrm>
          <a:prstGeom prst="rect">
            <a:avLst/>
          </a:prstGeom>
        </p:spPr>
      </p:pic>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5D92436F-739E-4FE0-AFF0-501991B7FCB9}"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11" name="Textplatzhalter 10">
            <a:extLst>
              <a:ext uri="{FF2B5EF4-FFF2-40B4-BE49-F238E27FC236}">
                <a16:creationId xmlns:a16="http://schemas.microsoft.com/office/drawing/2014/main" id="{0EBCC224-7532-5647-303E-492645E0CDF8}"/>
              </a:ext>
            </a:extLst>
          </p:cNvPr>
          <p:cNvSpPr>
            <a:spLocks noGrp="1"/>
          </p:cNvSpPr>
          <p:nvPr>
            <p:ph type="body" sz="quarter" idx="14"/>
          </p:nvPr>
        </p:nvSpPr>
        <p:spPr>
          <a:xfrm>
            <a:off x="587375" y="5343525"/>
            <a:ext cx="5003800" cy="1073150"/>
          </a:xfrm>
          <a:prstGeom prst="rect">
            <a:avLst/>
          </a:prstGeom>
        </p:spPr>
        <p:txBody>
          <a:bodyPr/>
          <a:lstStyle>
            <a:lvl1pPr marL="0" indent="0">
              <a:buNone/>
              <a:defRPr/>
            </a:lvl1pPr>
            <a:lvl2pPr marL="179388" indent="0">
              <a:buNone/>
              <a:defRPr/>
            </a:lvl2pPr>
            <a:lvl3pPr marL="360363" indent="0">
              <a:buNone/>
              <a:defRPr/>
            </a:lvl3pPr>
            <a:lvl4pPr marL="1371600" indent="0">
              <a:buNone/>
              <a:defRPr/>
            </a:lvl4pPr>
            <a:lvl5pPr marL="1828800" indent="0">
              <a:buNone/>
              <a:defRPr/>
            </a:lvl5pPr>
          </a:lstStyle>
          <a:p>
            <a:pPr lvl="0"/>
            <a:r>
              <a:rPr lang="de-DE"/>
              <a:t>Mastertextformat bearbeiten</a:t>
            </a:r>
          </a:p>
        </p:txBody>
      </p:sp>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16" name="Textplatzhalter 10">
            <a:extLst>
              <a:ext uri="{FF2B5EF4-FFF2-40B4-BE49-F238E27FC236}">
                <a16:creationId xmlns:a16="http://schemas.microsoft.com/office/drawing/2014/main" id="{5FAA4532-2EAE-FDBB-AC53-410D2BBEF4E8}"/>
              </a:ext>
            </a:extLst>
          </p:cNvPr>
          <p:cNvSpPr>
            <a:spLocks noGrp="1"/>
          </p:cNvSpPr>
          <p:nvPr>
            <p:ph type="body" sz="quarter" idx="15"/>
          </p:nvPr>
        </p:nvSpPr>
        <p:spPr>
          <a:xfrm>
            <a:off x="6600826" y="5343525"/>
            <a:ext cx="5003800" cy="1073150"/>
          </a:xfrm>
          <a:prstGeom prst="rect">
            <a:avLst/>
          </a:prstGeom>
        </p:spPr>
        <p:txBody>
          <a:bodyPr/>
          <a:lstStyle>
            <a:lvl1pPr marL="0" indent="0">
              <a:buNone/>
              <a:defRPr/>
            </a:lvl1pPr>
            <a:lvl2pPr marL="179388" indent="0">
              <a:buNone/>
              <a:defRPr/>
            </a:lvl2pPr>
            <a:lvl3pPr marL="360363" indent="0">
              <a:buNone/>
              <a:defRPr/>
            </a:lvl3pPr>
            <a:lvl4pPr marL="1371600" indent="0">
              <a:buNone/>
              <a:defRPr/>
            </a:lvl4pPr>
            <a:lvl5pPr marL="1828800" indent="0">
              <a:buNone/>
              <a:defRPr/>
            </a:lvl5pPr>
          </a:lstStyle>
          <a:p>
            <a:pPr lvl="0"/>
            <a:r>
              <a:rPr lang="de-DE"/>
              <a:t>Mastertextformat bearbeiten</a:t>
            </a:r>
          </a:p>
        </p:txBody>
      </p:sp>
      <p:sp>
        <p:nvSpPr>
          <p:cNvPr id="8" name="Inhaltsplatzhalter 7">
            <a:extLst>
              <a:ext uri="{FF2B5EF4-FFF2-40B4-BE49-F238E27FC236}">
                <a16:creationId xmlns:a16="http://schemas.microsoft.com/office/drawing/2014/main" id="{F48D59F3-8E00-01C2-0C32-E3405A7F4846}"/>
              </a:ext>
            </a:extLst>
          </p:cNvPr>
          <p:cNvSpPr>
            <a:spLocks noGrp="1"/>
          </p:cNvSpPr>
          <p:nvPr>
            <p:ph sz="quarter" idx="16" hasCustomPrompt="1"/>
          </p:nvPr>
        </p:nvSpPr>
        <p:spPr>
          <a:xfrm>
            <a:off x="587375" y="1808163"/>
            <a:ext cx="5003800" cy="3241675"/>
          </a:xfrm>
        </p:spPr>
        <p:txBody>
          <a:bodyPr anchor="ctr"/>
          <a:lstStyle>
            <a:lvl1pPr algn="ctr">
              <a:defRPr>
                <a:latin typeface="+mj-lt"/>
              </a:defRPr>
            </a:lvl1pPr>
          </a:lstStyle>
          <a:p>
            <a:pPr lvl="0"/>
            <a:r>
              <a:rPr lang="de-DE"/>
              <a:t>Grafik/Foto</a:t>
            </a:r>
          </a:p>
        </p:txBody>
      </p:sp>
      <p:sp>
        <p:nvSpPr>
          <p:cNvPr id="10" name="Inhaltsplatzhalter 9">
            <a:extLst>
              <a:ext uri="{FF2B5EF4-FFF2-40B4-BE49-F238E27FC236}">
                <a16:creationId xmlns:a16="http://schemas.microsoft.com/office/drawing/2014/main" id="{26ACB9CA-5E40-17F4-BA79-85976AE042A6}"/>
              </a:ext>
            </a:extLst>
          </p:cNvPr>
          <p:cNvSpPr>
            <a:spLocks noGrp="1"/>
          </p:cNvSpPr>
          <p:nvPr>
            <p:ph sz="quarter" idx="17" hasCustomPrompt="1"/>
          </p:nvPr>
        </p:nvSpPr>
        <p:spPr>
          <a:xfrm>
            <a:off x="6600826" y="1808163"/>
            <a:ext cx="5003799" cy="3241675"/>
          </a:xfrm>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29087601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spaltig_Bild/Grafik">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7F458BA2-2AAD-F097-DCBC-57D02EB530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5999" y="188913"/>
            <a:ext cx="5903913" cy="6147241"/>
          </a:xfrm>
          <a:prstGeom prst="rect">
            <a:avLst/>
          </a:prstGeom>
        </p:spPr>
      </p:pic>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9FC05561-8A20-402E-B186-1328011E52F3}"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7" name="Inhaltsplatzhalter 7">
            <a:extLst>
              <a:ext uri="{FF2B5EF4-FFF2-40B4-BE49-F238E27FC236}">
                <a16:creationId xmlns:a16="http://schemas.microsoft.com/office/drawing/2014/main" id="{AC40E4DF-20DF-ABDB-6E70-6F1673B0EA82}"/>
              </a:ext>
            </a:extLst>
          </p:cNvPr>
          <p:cNvSpPr>
            <a:spLocks noGrp="1"/>
          </p:cNvSpPr>
          <p:nvPr>
            <p:ph sz="quarter" idx="16" hasCustomPrompt="1"/>
          </p:nvPr>
        </p:nvSpPr>
        <p:spPr>
          <a:xfrm>
            <a:off x="587375" y="1808163"/>
            <a:ext cx="5003800" cy="3241675"/>
          </a:xfrm>
        </p:spPr>
        <p:txBody>
          <a:bodyPr anchor="ctr"/>
          <a:lstStyle>
            <a:lvl1pPr algn="ctr">
              <a:defRPr>
                <a:latin typeface="+mj-lt"/>
              </a:defRPr>
            </a:lvl1pPr>
          </a:lstStyle>
          <a:p>
            <a:pPr lvl="0"/>
            <a:r>
              <a:rPr lang="de-DE"/>
              <a:t>Grafik/Foto</a:t>
            </a:r>
          </a:p>
        </p:txBody>
      </p:sp>
      <p:sp>
        <p:nvSpPr>
          <p:cNvPr id="8" name="Inhaltsplatzhalter 9">
            <a:extLst>
              <a:ext uri="{FF2B5EF4-FFF2-40B4-BE49-F238E27FC236}">
                <a16:creationId xmlns:a16="http://schemas.microsoft.com/office/drawing/2014/main" id="{67C72828-DD50-BCB9-4A9F-77923C1940D2}"/>
              </a:ext>
            </a:extLst>
          </p:cNvPr>
          <p:cNvSpPr>
            <a:spLocks noGrp="1"/>
          </p:cNvSpPr>
          <p:nvPr>
            <p:ph sz="quarter" idx="17" hasCustomPrompt="1"/>
          </p:nvPr>
        </p:nvSpPr>
        <p:spPr>
          <a:xfrm>
            <a:off x="6600826" y="1808163"/>
            <a:ext cx="5003799" cy="3241675"/>
          </a:xfrm>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32143024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spaltig_2Bilder_Conten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2DD31926-3FC0-4034-A32B-89057550D753}"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8" name="Textplatzhalter 7">
            <a:extLst>
              <a:ext uri="{FF2B5EF4-FFF2-40B4-BE49-F238E27FC236}">
                <a16:creationId xmlns:a16="http://schemas.microsoft.com/office/drawing/2014/main" id="{89AE22B5-7AB2-09E4-21D0-F7739B0B817B}"/>
              </a:ext>
            </a:extLst>
          </p:cNvPr>
          <p:cNvSpPr>
            <a:spLocks noGrp="1"/>
          </p:cNvSpPr>
          <p:nvPr>
            <p:ph type="body" sz="quarter" idx="13"/>
          </p:nvPr>
        </p:nvSpPr>
        <p:spPr>
          <a:xfrm>
            <a:off x="6600826" y="1808163"/>
            <a:ext cx="5003800" cy="4608512"/>
          </a:xfrm>
          <a:prstGeom prst="rect">
            <a:avLst/>
          </a:prstGeom>
        </p:spPr>
        <p:txBody>
          <a:bodyPr/>
          <a:lstStyle/>
          <a:p>
            <a:pPr lvl="0"/>
            <a:r>
              <a:rPr lang="de-DE"/>
              <a:t>Mastertextformat bearbeiten</a:t>
            </a:r>
          </a:p>
          <a:p>
            <a:pPr lvl="1"/>
            <a:r>
              <a:rPr lang="de-DE"/>
              <a:t>Zweite Ebene</a:t>
            </a:r>
          </a:p>
          <a:p>
            <a:pPr lvl="2"/>
            <a:r>
              <a:rPr lang="de-DE"/>
              <a:t>Dritte Ebene</a:t>
            </a:r>
          </a:p>
        </p:txBody>
      </p:sp>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pic>
        <p:nvPicPr>
          <p:cNvPr id="12" name="Grafik 11">
            <a:extLst>
              <a:ext uri="{FF2B5EF4-FFF2-40B4-BE49-F238E27FC236}">
                <a16:creationId xmlns:a16="http://schemas.microsoft.com/office/drawing/2014/main" id="{75D91127-09D6-6ADC-EBAB-899977FA5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67451" y="3790193"/>
            <a:ext cx="1485900" cy="2472230"/>
          </a:xfrm>
          <a:prstGeom prst="rect">
            <a:avLst/>
          </a:prstGeom>
        </p:spPr>
      </p:pic>
      <p:sp>
        <p:nvSpPr>
          <p:cNvPr id="7" name="Inhaltsplatzhalter 6">
            <a:extLst>
              <a:ext uri="{FF2B5EF4-FFF2-40B4-BE49-F238E27FC236}">
                <a16:creationId xmlns:a16="http://schemas.microsoft.com/office/drawing/2014/main" id="{D77F04A2-B05F-EDF4-89A8-51EC1F76C978}"/>
              </a:ext>
            </a:extLst>
          </p:cNvPr>
          <p:cNvSpPr>
            <a:spLocks noGrp="1"/>
          </p:cNvSpPr>
          <p:nvPr>
            <p:ph sz="quarter" idx="15" hasCustomPrompt="1"/>
          </p:nvPr>
        </p:nvSpPr>
        <p:spPr>
          <a:xfrm>
            <a:off x="587375" y="1808164"/>
            <a:ext cx="5437188" cy="4059236"/>
          </a:xfrm>
        </p:spPr>
        <p:txBody>
          <a:bodyPr anchor="ctr"/>
          <a:lstStyle>
            <a:lvl1pPr algn="ctr">
              <a:defRPr>
                <a:latin typeface="+mj-lt"/>
              </a:defRPr>
            </a:lvl1pPr>
          </a:lstStyle>
          <a:p>
            <a:pPr lvl="0"/>
            <a:r>
              <a:rPr lang="de-DE"/>
              <a:t>Grafik/Foto</a:t>
            </a:r>
          </a:p>
        </p:txBody>
      </p:sp>
      <p:sp>
        <p:nvSpPr>
          <p:cNvPr id="11" name="Inhaltsplatzhalter 10">
            <a:extLst>
              <a:ext uri="{FF2B5EF4-FFF2-40B4-BE49-F238E27FC236}">
                <a16:creationId xmlns:a16="http://schemas.microsoft.com/office/drawing/2014/main" id="{783EA90E-FC3F-1837-09A2-E3632B969C87}"/>
              </a:ext>
            </a:extLst>
          </p:cNvPr>
          <p:cNvSpPr>
            <a:spLocks noGrp="1"/>
          </p:cNvSpPr>
          <p:nvPr>
            <p:ph sz="quarter" idx="16" hasCustomPrompt="1"/>
          </p:nvPr>
        </p:nvSpPr>
        <p:spPr>
          <a:xfrm>
            <a:off x="8582025" y="3848100"/>
            <a:ext cx="3022599" cy="2247900"/>
          </a:xfrm>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19517097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chlussfolie_dunke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716BE7A-A5F5-C3F0-7C38-1866554B0342}"/>
              </a:ext>
            </a:extLst>
          </p:cNvPr>
          <p:cNvSpPr/>
          <p:nvPr userDrawn="1"/>
        </p:nvSpPr>
        <p:spPr>
          <a:xfrm>
            <a:off x="0" y="0"/>
            <a:ext cx="12192000" cy="515566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4" name="Datumsplatzhalter 3">
            <a:extLst>
              <a:ext uri="{FF2B5EF4-FFF2-40B4-BE49-F238E27FC236}">
                <a16:creationId xmlns:a16="http://schemas.microsoft.com/office/drawing/2014/main" id="{5B2E855C-148D-336D-9F69-3806F351A11B}"/>
              </a:ext>
            </a:extLst>
          </p:cNvPr>
          <p:cNvSpPr>
            <a:spLocks noGrp="1"/>
          </p:cNvSpPr>
          <p:nvPr>
            <p:ph type="dt" sz="half" idx="10"/>
          </p:nvPr>
        </p:nvSpPr>
        <p:spPr/>
        <p:txBody>
          <a:bodyPr/>
          <a:lstStyle/>
          <a:p>
            <a:r>
              <a:rPr lang="de-DE"/>
              <a:t>| </a:t>
            </a:r>
            <a:fld id="{B10E1E15-880C-4B9D-8A1B-D96383467A83}" type="datetime1">
              <a:rPr lang="de-DE" smtClean="0"/>
              <a:t>18.01.24</a:t>
            </a:fld>
            <a:endParaRPr lang="de-DE"/>
          </a:p>
        </p:txBody>
      </p:sp>
      <p:sp>
        <p:nvSpPr>
          <p:cNvPr id="7" name="Textfeld 6">
            <a:extLst>
              <a:ext uri="{FF2B5EF4-FFF2-40B4-BE49-F238E27FC236}">
                <a16:creationId xmlns:a16="http://schemas.microsoft.com/office/drawing/2014/main" id="{E64A5574-388D-AEB3-8658-DF7E4F8CA354}"/>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latin typeface="+mj-lt"/>
              </a:rPr>
              <a:t>byte</a:t>
            </a:r>
            <a:r>
              <a:rPr lang="de-DE" sz="800">
                <a:latin typeface="+mn-lt"/>
              </a:rPr>
              <a:t> – Bayerische Agentur für Digitales</a:t>
            </a:r>
          </a:p>
        </p:txBody>
      </p:sp>
      <p:sp>
        <p:nvSpPr>
          <p:cNvPr id="12" name="Textfeld 11">
            <a:extLst>
              <a:ext uri="{FF2B5EF4-FFF2-40B4-BE49-F238E27FC236}">
                <a16:creationId xmlns:a16="http://schemas.microsoft.com/office/drawing/2014/main" id="{ADBC390A-3C69-C377-6367-44DA1A2F0C0F}"/>
              </a:ext>
            </a:extLst>
          </p:cNvPr>
          <p:cNvSpPr txBox="1">
            <a:spLocks/>
          </p:cNvSpPr>
          <p:nvPr userDrawn="1"/>
        </p:nvSpPr>
        <p:spPr>
          <a:xfrm>
            <a:off x="587375" y="5930091"/>
            <a:ext cx="1928812" cy="246221"/>
          </a:xfrm>
          <a:prstGeom prst="rect">
            <a:avLst/>
          </a:prstGeom>
          <a:noFill/>
        </p:spPr>
        <p:txBody>
          <a:bodyPr wrap="square" lIns="0" tIns="0" rIns="0" bIns="0" rtlCol="0">
            <a:spAutoFit/>
          </a:bodyPr>
          <a:lstStyle/>
          <a:p>
            <a:r>
              <a:rPr lang="de-DE" sz="1600" err="1">
                <a:latin typeface="+mj-lt"/>
              </a:rPr>
              <a:t>byte.bayern</a:t>
            </a:r>
            <a:endParaRPr lang="de-DE" sz="1600">
              <a:latin typeface="+mj-lt"/>
            </a:endParaRPr>
          </a:p>
        </p:txBody>
      </p:sp>
      <p:cxnSp>
        <p:nvCxnSpPr>
          <p:cNvPr id="14" name="Gerader Verbinder 13">
            <a:extLst>
              <a:ext uri="{FF2B5EF4-FFF2-40B4-BE49-F238E27FC236}">
                <a16:creationId xmlns:a16="http://schemas.microsoft.com/office/drawing/2014/main" id="{C1C5AE54-951F-6266-B315-8D3BB7762EC0}"/>
              </a:ext>
            </a:extLst>
          </p:cNvPr>
          <p:cNvCxnSpPr>
            <a:cxnSpLocks/>
          </p:cNvCxnSpPr>
          <p:nvPr userDrawn="1"/>
        </p:nvCxnSpPr>
        <p:spPr>
          <a:xfrm>
            <a:off x="599280" y="6208496"/>
            <a:ext cx="116522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platzhalter 4">
            <a:extLst>
              <a:ext uri="{FF2B5EF4-FFF2-40B4-BE49-F238E27FC236}">
                <a16:creationId xmlns:a16="http://schemas.microsoft.com/office/drawing/2014/main" id="{2BF79696-5DBD-CFB7-8692-5166E8CE44D6}"/>
              </a:ext>
            </a:extLst>
          </p:cNvPr>
          <p:cNvSpPr>
            <a:spLocks noGrp="1"/>
          </p:cNvSpPr>
          <p:nvPr>
            <p:ph type="body" sz="quarter" idx="11"/>
          </p:nvPr>
        </p:nvSpPr>
        <p:spPr>
          <a:xfrm>
            <a:off x="587375" y="438150"/>
            <a:ext cx="5437188" cy="738664"/>
          </a:xfrm>
          <a:prstGeom prst="rect">
            <a:avLst/>
          </a:prstGeom>
        </p:spPr>
        <p:txBody>
          <a:bodyPr>
            <a:noAutofit/>
          </a:bodyPr>
          <a:lstStyle>
            <a:lvl1pPr marL="0" indent="0">
              <a:buNone/>
              <a:defRPr sz="4800">
                <a:solidFill>
                  <a:schemeClr val="bg1"/>
                </a:solidFill>
                <a:latin typeface="+mj-lt"/>
              </a:defRPr>
            </a:lvl1pPr>
          </a:lstStyle>
          <a:p>
            <a:pPr lvl="0"/>
            <a:endParaRPr lang="de-DE"/>
          </a:p>
        </p:txBody>
      </p:sp>
      <p:sp>
        <p:nvSpPr>
          <p:cNvPr id="15" name="Textfeld 14">
            <a:extLst>
              <a:ext uri="{FF2B5EF4-FFF2-40B4-BE49-F238E27FC236}">
                <a16:creationId xmlns:a16="http://schemas.microsoft.com/office/drawing/2014/main" id="{5775BD5D-B471-D8FD-C92F-25667B81C956}"/>
              </a:ext>
            </a:extLst>
          </p:cNvPr>
          <p:cNvSpPr txBox="1"/>
          <p:nvPr userDrawn="1"/>
        </p:nvSpPr>
        <p:spPr>
          <a:xfrm>
            <a:off x="587375" y="1808164"/>
            <a:ext cx="3521075" cy="2580835"/>
          </a:xfrm>
          <a:prstGeom prst="rect">
            <a:avLst/>
          </a:prstGeom>
          <a:noFill/>
        </p:spPr>
        <p:txBody>
          <a:bodyPr wrap="square" lIns="0" tIns="0" rIns="0" bIns="0" rtlCol="0">
            <a:spAutoFit/>
          </a:bodyPr>
          <a:lstStyle/>
          <a:p>
            <a:pPr>
              <a:lnSpc>
                <a:spcPct val="135000"/>
              </a:lnSpc>
            </a:pPr>
            <a:r>
              <a:rPr lang="de-DE" sz="1200" err="1">
                <a:solidFill>
                  <a:schemeClr val="bg1"/>
                </a:solidFill>
                <a:latin typeface="+mj-lt"/>
              </a:rPr>
              <a:t>byte</a:t>
            </a:r>
            <a:r>
              <a:rPr lang="de-DE" sz="1200">
                <a:solidFill>
                  <a:schemeClr val="bg1"/>
                </a:solidFill>
                <a:latin typeface="+mj-lt"/>
              </a:rPr>
              <a:t> – Bayerische Agentur für Digitales GmbH</a:t>
            </a:r>
          </a:p>
          <a:p>
            <a:pPr>
              <a:lnSpc>
                <a:spcPct val="135000"/>
              </a:lnSpc>
            </a:pPr>
            <a:r>
              <a:rPr lang="de-DE" sz="1200">
                <a:solidFill>
                  <a:schemeClr val="bg1"/>
                </a:solidFill>
              </a:rPr>
              <a:t>Oskar-von-Miller-Ring 35</a:t>
            </a:r>
          </a:p>
          <a:p>
            <a:pPr>
              <a:lnSpc>
                <a:spcPct val="135000"/>
              </a:lnSpc>
              <a:spcAft>
                <a:spcPts val="2200"/>
              </a:spcAft>
            </a:pPr>
            <a:r>
              <a:rPr lang="de-DE" sz="1200">
                <a:solidFill>
                  <a:schemeClr val="bg1"/>
                </a:solidFill>
              </a:rPr>
              <a:t>D-80333 München</a:t>
            </a:r>
          </a:p>
          <a:p>
            <a:pPr>
              <a:lnSpc>
                <a:spcPct val="135000"/>
              </a:lnSpc>
            </a:pPr>
            <a:r>
              <a:rPr lang="de-DE" sz="1200">
                <a:solidFill>
                  <a:schemeClr val="bg1"/>
                </a:solidFill>
                <a:latin typeface="+mj-lt"/>
              </a:rPr>
              <a:t>Registergericht</a:t>
            </a:r>
          </a:p>
          <a:p>
            <a:pPr>
              <a:lnSpc>
                <a:spcPct val="135000"/>
              </a:lnSpc>
            </a:pPr>
            <a:r>
              <a:rPr lang="de-DE" sz="1200">
                <a:solidFill>
                  <a:schemeClr val="bg1"/>
                </a:solidFill>
              </a:rPr>
              <a:t>Amtsgericht München, HRB 273196</a:t>
            </a:r>
          </a:p>
          <a:p>
            <a:pPr>
              <a:lnSpc>
                <a:spcPct val="135000"/>
              </a:lnSpc>
            </a:pPr>
            <a:r>
              <a:rPr lang="de-DE" sz="1200">
                <a:solidFill>
                  <a:schemeClr val="bg1"/>
                </a:solidFill>
                <a:latin typeface="+mj-lt"/>
              </a:rPr>
              <a:t>Geschäftsführung</a:t>
            </a:r>
            <a:r>
              <a:rPr lang="de-DE" sz="1200">
                <a:solidFill>
                  <a:schemeClr val="bg1"/>
                </a:solidFill>
              </a:rPr>
              <a:t> </a:t>
            </a:r>
          </a:p>
          <a:p>
            <a:pPr>
              <a:lnSpc>
                <a:spcPct val="135000"/>
              </a:lnSpc>
            </a:pPr>
            <a:r>
              <a:rPr lang="de-DE" sz="1200">
                <a:solidFill>
                  <a:schemeClr val="bg1"/>
                </a:solidFill>
              </a:rPr>
              <a:t>Antonia Zierer, Thorsten Kühnel</a:t>
            </a:r>
          </a:p>
          <a:p>
            <a:pPr>
              <a:lnSpc>
                <a:spcPct val="135000"/>
              </a:lnSpc>
            </a:pPr>
            <a:r>
              <a:rPr lang="de-DE" sz="1200">
                <a:solidFill>
                  <a:schemeClr val="bg1"/>
                </a:solidFill>
                <a:latin typeface="+mj-lt"/>
              </a:rPr>
              <a:t>Postanschrift</a:t>
            </a:r>
          </a:p>
          <a:p>
            <a:pPr>
              <a:lnSpc>
                <a:spcPct val="135000"/>
              </a:lnSpc>
            </a:pPr>
            <a:r>
              <a:rPr lang="de-DE" sz="1200">
                <a:solidFill>
                  <a:schemeClr val="bg1"/>
                </a:solidFill>
              </a:rPr>
              <a:t>Orleanstraße 24, 81669 München</a:t>
            </a:r>
          </a:p>
        </p:txBody>
      </p:sp>
      <p:sp>
        <p:nvSpPr>
          <p:cNvPr id="16" name="Foliennummernplatzhalter 3">
            <a:extLst>
              <a:ext uri="{FF2B5EF4-FFF2-40B4-BE49-F238E27FC236}">
                <a16:creationId xmlns:a16="http://schemas.microsoft.com/office/drawing/2014/main" id="{E89DCB2F-234C-0531-3EFE-73CA9AFA5C94}"/>
              </a:ext>
            </a:extLst>
          </p:cNvPr>
          <p:cNvSpPr>
            <a:spLocks noGrp="1"/>
          </p:cNvSpPr>
          <p:nvPr>
            <p:ph type="sldNum" sz="quarter" idx="12"/>
          </p:nvPr>
        </p:nvSpPr>
        <p:spPr>
          <a:xfrm>
            <a:off x="11151393" y="6573838"/>
            <a:ext cx="848519" cy="123111"/>
          </a:xfrm>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pic>
        <p:nvPicPr>
          <p:cNvPr id="6" name="Grafik 5">
            <a:extLst>
              <a:ext uri="{FF2B5EF4-FFF2-40B4-BE49-F238E27FC236}">
                <a16:creationId xmlns:a16="http://schemas.microsoft.com/office/drawing/2014/main" id="{F89E7D01-1C6B-E128-58A7-D67E64756A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grpSp>
        <p:nvGrpSpPr>
          <p:cNvPr id="8" name="Gruppieren 7">
            <a:extLst>
              <a:ext uri="{FF2B5EF4-FFF2-40B4-BE49-F238E27FC236}">
                <a16:creationId xmlns:a16="http://schemas.microsoft.com/office/drawing/2014/main" id="{1CE2B2B8-1FD6-AF15-927B-9E9272370A47}"/>
              </a:ext>
            </a:extLst>
          </p:cNvPr>
          <p:cNvGrpSpPr/>
          <p:nvPr userDrawn="1"/>
        </p:nvGrpSpPr>
        <p:grpSpPr>
          <a:xfrm>
            <a:off x="11115518" y="188913"/>
            <a:ext cx="884395" cy="1075002"/>
            <a:chOff x="12265626" y="195630"/>
            <a:chExt cx="884395" cy="1075002"/>
          </a:xfrm>
        </p:grpSpPr>
        <p:sp>
          <p:nvSpPr>
            <p:cNvPr id="9" name="Freihandform: Form 8">
              <a:extLst>
                <a:ext uri="{FF2B5EF4-FFF2-40B4-BE49-F238E27FC236}">
                  <a16:creationId xmlns:a16="http://schemas.microsoft.com/office/drawing/2014/main" id="{75138617-236C-37BC-A7DE-DD51D674D76D}"/>
                </a:ext>
              </a:extLst>
            </p:cNvPr>
            <p:cNvSpPr/>
            <p:nvPr/>
          </p:nvSpPr>
          <p:spPr>
            <a:xfrm>
              <a:off x="12265626" y="195630"/>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6AD8E9E-AB6C-EAB9-F839-01A632FF8529}"/>
                </a:ext>
              </a:extLst>
            </p:cNvPr>
            <p:cNvSpPr/>
            <p:nvPr/>
          </p:nvSpPr>
          <p:spPr>
            <a:xfrm>
              <a:off x="12793204"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E910813-DEBC-6251-8D16-88CDF063F789}"/>
                </a:ext>
              </a:extLst>
            </p:cNvPr>
            <p:cNvSpPr/>
            <p:nvPr/>
          </p:nvSpPr>
          <p:spPr>
            <a:xfrm>
              <a:off x="12910626" y="546759"/>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807CEF56-54D9-F5F3-96AB-90F66BDFE6CF}"/>
                </a:ext>
              </a:extLst>
            </p:cNvPr>
            <p:cNvSpPr/>
            <p:nvPr/>
          </p:nvSpPr>
          <p:spPr>
            <a:xfrm>
              <a:off x="12675908" y="42946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C2C5ED27-0465-0240-667B-AF96E63A5781}"/>
                </a:ext>
              </a:extLst>
            </p:cNvPr>
            <p:cNvSpPr/>
            <p:nvPr/>
          </p:nvSpPr>
          <p:spPr>
            <a:xfrm>
              <a:off x="12675908"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a:p>
          </p:txBody>
        </p:sp>
        <p:grpSp>
          <p:nvGrpSpPr>
            <p:cNvPr id="18" name="Gruppieren 17">
              <a:extLst>
                <a:ext uri="{FF2B5EF4-FFF2-40B4-BE49-F238E27FC236}">
                  <a16:creationId xmlns:a16="http://schemas.microsoft.com/office/drawing/2014/main" id="{292A7DE9-5422-4C87-A43D-D09E9041247E}"/>
                </a:ext>
              </a:extLst>
            </p:cNvPr>
            <p:cNvGrpSpPr/>
            <p:nvPr userDrawn="1"/>
          </p:nvGrpSpPr>
          <p:grpSpPr>
            <a:xfrm>
              <a:off x="12266005" y="1135893"/>
              <a:ext cx="883889" cy="134739"/>
              <a:chOff x="12266005" y="1135893"/>
              <a:chExt cx="883889" cy="134739"/>
            </a:xfrm>
            <a:solidFill>
              <a:schemeClr val="bg1"/>
            </a:solidFill>
          </p:grpSpPr>
          <p:sp>
            <p:nvSpPr>
              <p:cNvPr id="26" name="Freihandform: Form 25">
                <a:extLst>
                  <a:ext uri="{FF2B5EF4-FFF2-40B4-BE49-F238E27FC236}">
                    <a16:creationId xmlns:a16="http://schemas.microsoft.com/office/drawing/2014/main" id="{4914E9E1-2DCC-F91A-61B2-CE62DFEB7B1E}"/>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4CE007E3-07E5-AA2F-D527-BBEEF156E961}"/>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5C6038A5-1AFA-BD88-118A-D339D1D29E0D}"/>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986DA42-B538-9AAC-BE30-D5E0805F768C}"/>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FFB26A3C-24C5-92E3-B4FB-099C746EE41F}"/>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F1288944-4AF5-A88A-A53D-2BBC19D34816}"/>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9EA506E-F18B-5476-EA49-2BE9F2D5EF89}"/>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F6F22B2D-B76B-86AA-7B31-A159450314F2}"/>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AA74BD57-ECEB-872F-61BB-EA15D856F8CD}"/>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212E2DB3-5076-3ECC-8C62-D2DA849B516D}"/>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85C4EDAF-5C3B-3C32-6494-AB4644F47F7F}"/>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6D579B95-578A-4EF6-B58A-45241ABE45CA}"/>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E0849869-BD40-A5BC-BBBE-850681D9C6B1}"/>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332F31CA-E599-1D83-FB1D-86B7D471CC40}"/>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C35D7E2B-49B8-E793-51B6-B489E9FF661E}"/>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4464D655-2534-A526-124F-14D815CFFFCD}"/>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1F6A1BFB-7948-8185-DA2B-43C4C85EE35F}"/>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8B230C65-B02B-DB4F-2781-3A9C61B3DEB1}"/>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4CF669A1-A800-E651-A452-4B9C4EF9C58D}"/>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387F01A9-E2EF-CB7D-D45E-88EBD88A241D}"/>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26BC08EC-428B-853A-9601-790AEF153318}"/>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174B6975-CF1A-4665-1AB4-E6A22E11C0FA}"/>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A313057-CE1E-8358-04C6-A30A11BFAA48}"/>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88D4EC39-B539-211E-7F86-13171525E02B}"/>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E518EEEC-BB16-876A-9FD5-E8F74C3B9C30}"/>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6EDBE00A-3B33-3272-E540-9D48F07AEF28}"/>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C6C5EC54-08BB-0800-1626-A1D2B764C7F0}"/>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8AE1DEBD-A56C-9038-2AAF-1F36DEDC1557}"/>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4F19BA9E-A288-0B5B-8147-04BE5F57C921}"/>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a:p>
            </p:txBody>
          </p:sp>
        </p:grpSp>
        <p:sp>
          <p:nvSpPr>
            <p:cNvPr id="19" name="Freihandform: Form 18">
              <a:extLst>
                <a:ext uri="{FF2B5EF4-FFF2-40B4-BE49-F238E27FC236}">
                  <a16:creationId xmlns:a16="http://schemas.microsoft.com/office/drawing/2014/main" id="{77773881-BD58-EF74-2CD9-764AF1C23FC2}"/>
                </a:ext>
              </a:extLst>
            </p:cNvPr>
            <p:cNvSpPr/>
            <p:nvPr/>
          </p:nvSpPr>
          <p:spPr>
            <a:xfrm>
              <a:off x="12334891" y="759990"/>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32B14D7-DC05-A7D6-8455-A022967F7188}"/>
                </a:ext>
              </a:extLst>
            </p:cNvPr>
            <p:cNvSpPr/>
            <p:nvPr/>
          </p:nvSpPr>
          <p:spPr>
            <a:xfrm>
              <a:off x="12553430" y="808779"/>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BEFE53BF-A86C-5341-AB16-86AF25BE4119}"/>
                </a:ext>
              </a:extLst>
            </p:cNvPr>
            <p:cNvSpPr/>
            <p:nvPr/>
          </p:nvSpPr>
          <p:spPr>
            <a:xfrm>
              <a:off x="12773234" y="761759"/>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23F17086-ECFB-8E3D-C23B-0A97BC9066F6}"/>
                </a:ext>
              </a:extLst>
            </p:cNvPr>
            <p:cNvSpPr/>
            <p:nvPr/>
          </p:nvSpPr>
          <p:spPr>
            <a:xfrm>
              <a:off x="12930218" y="808273"/>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DCD7CF46-4A6C-A367-1C52-8D36BC47D594}"/>
                </a:ext>
              </a:extLst>
            </p:cNvPr>
            <p:cNvSpPr/>
            <p:nvPr/>
          </p:nvSpPr>
          <p:spPr>
            <a:xfrm>
              <a:off x="12910626"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A2B3037-53CF-F9E4-D09A-8D327F20B29F}"/>
                </a:ext>
              </a:extLst>
            </p:cNvPr>
            <p:cNvSpPr/>
            <p:nvPr/>
          </p:nvSpPr>
          <p:spPr>
            <a:xfrm>
              <a:off x="12910626"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a:p>
          </p:txBody>
        </p:sp>
      </p:grpSp>
      <p:pic>
        <p:nvPicPr>
          <p:cNvPr id="3" name="Grafik 2">
            <a:extLst>
              <a:ext uri="{FF2B5EF4-FFF2-40B4-BE49-F238E27FC236}">
                <a16:creationId xmlns:a16="http://schemas.microsoft.com/office/drawing/2014/main" id="{E4BFEE32-1B35-3E6B-2184-57ABE9B9D8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0681" y="4692948"/>
            <a:ext cx="8836170" cy="893066"/>
          </a:xfrm>
          <a:prstGeom prst="rect">
            <a:avLst/>
          </a:prstGeom>
        </p:spPr>
      </p:pic>
    </p:spTree>
    <p:extLst>
      <p:ext uri="{BB962C8B-B14F-4D97-AF65-F5344CB8AC3E}">
        <p14:creationId xmlns:p14="http://schemas.microsoft.com/office/powerpoint/2010/main" val="18205487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chlussfolie_hel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76EF873-0EEB-106C-3951-16F47196311D}"/>
              </a:ext>
            </a:extLst>
          </p:cNvPr>
          <p:cNvSpPr/>
          <p:nvPr userDrawn="1"/>
        </p:nvSpPr>
        <p:spPr>
          <a:xfrm>
            <a:off x="0" y="5136204"/>
            <a:ext cx="12192000" cy="1721796"/>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3" name="Grafik 2">
            <a:extLst>
              <a:ext uri="{FF2B5EF4-FFF2-40B4-BE49-F238E27FC236}">
                <a16:creationId xmlns:a16="http://schemas.microsoft.com/office/drawing/2014/main" id="{FB4EC5C9-8ED3-A699-6C88-4F341D420D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0681" y="4692948"/>
            <a:ext cx="8836170" cy="893066"/>
          </a:xfrm>
          <a:prstGeom prst="rect">
            <a:avLst/>
          </a:prstGeom>
        </p:spPr>
      </p:pic>
      <p:sp>
        <p:nvSpPr>
          <p:cNvPr id="4" name="Datumsplatzhalter 3">
            <a:extLst>
              <a:ext uri="{FF2B5EF4-FFF2-40B4-BE49-F238E27FC236}">
                <a16:creationId xmlns:a16="http://schemas.microsoft.com/office/drawing/2014/main" id="{5B2E855C-148D-336D-9F69-3806F351A11B}"/>
              </a:ext>
            </a:extLst>
          </p:cNvPr>
          <p:cNvSpPr>
            <a:spLocks noGrp="1"/>
          </p:cNvSpPr>
          <p:nvPr>
            <p:ph type="dt" sz="half" idx="10"/>
          </p:nvPr>
        </p:nvSpPr>
        <p:spPr/>
        <p:txBody>
          <a:bodyPr/>
          <a:lstStyle>
            <a:lvl1pPr>
              <a:defRPr>
                <a:solidFill>
                  <a:schemeClr val="bg1"/>
                </a:solidFill>
              </a:defRPr>
            </a:lvl1pPr>
          </a:lstStyle>
          <a:p>
            <a:r>
              <a:rPr lang="de-DE"/>
              <a:t>| </a:t>
            </a:r>
            <a:fld id="{CA490B9A-3B2D-4673-84C1-B244A02FAF5F}" type="datetime1">
              <a:rPr lang="de-DE" smtClean="0"/>
              <a:t>18.01.24</a:t>
            </a:fld>
            <a:endParaRPr lang="de-DE"/>
          </a:p>
        </p:txBody>
      </p:sp>
      <p:sp>
        <p:nvSpPr>
          <p:cNvPr id="7" name="Textfeld 6">
            <a:extLst>
              <a:ext uri="{FF2B5EF4-FFF2-40B4-BE49-F238E27FC236}">
                <a16:creationId xmlns:a16="http://schemas.microsoft.com/office/drawing/2014/main" id="{E64A5574-388D-AEB3-8658-DF7E4F8CA354}"/>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bg1"/>
                </a:solidFill>
                <a:latin typeface="+mj-lt"/>
              </a:rPr>
              <a:t>byte</a:t>
            </a:r>
            <a:r>
              <a:rPr lang="de-DE" sz="800">
                <a:solidFill>
                  <a:schemeClr val="bg1"/>
                </a:solidFill>
                <a:latin typeface="+mn-lt"/>
              </a:rPr>
              <a:t> – Bayerische Agentur für Digitales</a:t>
            </a:r>
          </a:p>
        </p:txBody>
      </p:sp>
      <p:sp>
        <p:nvSpPr>
          <p:cNvPr id="12" name="Textfeld 11">
            <a:extLst>
              <a:ext uri="{FF2B5EF4-FFF2-40B4-BE49-F238E27FC236}">
                <a16:creationId xmlns:a16="http://schemas.microsoft.com/office/drawing/2014/main" id="{ADBC390A-3C69-C377-6367-44DA1A2F0C0F}"/>
              </a:ext>
            </a:extLst>
          </p:cNvPr>
          <p:cNvSpPr txBox="1">
            <a:spLocks/>
          </p:cNvSpPr>
          <p:nvPr userDrawn="1"/>
        </p:nvSpPr>
        <p:spPr>
          <a:xfrm>
            <a:off x="587375" y="5930091"/>
            <a:ext cx="1928812" cy="246221"/>
          </a:xfrm>
          <a:prstGeom prst="rect">
            <a:avLst/>
          </a:prstGeom>
          <a:noFill/>
        </p:spPr>
        <p:txBody>
          <a:bodyPr wrap="square" lIns="0" tIns="0" rIns="0" bIns="0" rtlCol="0">
            <a:spAutoFit/>
          </a:bodyPr>
          <a:lstStyle/>
          <a:p>
            <a:r>
              <a:rPr lang="de-DE" sz="1600" err="1">
                <a:solidFill>
                  <a:schemeClr val="bg1"/>
                </a:solidFill>
                <a:latin typeface="+mj-lt"/>
              </a:rPr>
              <a:t>byte.bayern</a:t>
            </a:r>
            <a:endParaRPr lang="de-DE" sz="1600">
              <a:solidFill>
                <a:schemeClr val="bg1"/>
              </a:solidFill>
              <a:latin typeface="+mj-lt"/>
            </a:endParaRPr>
          </a:p>
        </p:txBody>
      </p:sp>
      <p:cxnSp>
        <p:nvCxnSpPr>
          <p:cNvPr id="14" name="Gerader Verbinder 13">
            <a:extLst>
              <a:ext uri="{FF2B5EF4-FFF2-40B4-BE49-F238E27FC236}">
                <a16:creationId xmlns:a16="http://schemas.microsoft.com/office/drawing/2014/main" id="{C1C5AE54-951F-6266-B315-8D3BB7762EC0}"/>
              </a:ext>
            </a:extLst>
          </p:cNvPr>
          <p:cNvCxnSpPr>
            <a:cxnSpLocks/>
          </p:cNvCxnSpPr>
          <p:nvPr userDrawn="1"/>
        </p:nvCxnSpPr>
        <p:spPr>
          <a:xfrm>
            <a:off x="599280" y="6208496"/>
            <a:ext cx="116522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platzhalter 4">
            <a:extLst>
              <a:ext uri="{FF2B5EF4-FFF2-40B4-BE49-F238E27FC236}">
                <a16:creationId xmlns:a16="http://schemas.microsoft.com/office/drawing/2014/main" id="{2BF79696-5DBD-CFB7-8692-5166E8CE44D6}"/>
              </a:ext>
            </a:extLst>
          </p:cNvPr>
          <p:cNvSpPr>
            <a:spLocks noGrp="1"/>
          </p:cNvSpPr>
          <p:nvPr>
            <p:ph type="body" sz="quarter" idx="11"/>
          </p:nvPr>
        </p:nvSpPr>
        <p:spPr>
          <a:xfrm>
            <a:off x="587375" y="438150"/>
            <a:ext cx="5437188" cy="738664"/>
          </a:xfrm>
          <a:prstGeom prst="rect">
            <a:avLst/>
          </a:prstGeom>
        </p:spPr>
        <p:txBody>
          <a:bodyPr>
            <a:noAutofit/>
          </a:bodyPr>
          <a:lstStyle>
            <a:lvl1pPr marL="0" indent="0">
              <a:buNone/>
              <a:defRPr sz="4800">
                <a:solidFill>
                  <a:schemeClr val="tx1"/>
                </a:solidFill>
                <a:latin typeface="+mj-lt"/>
              </a:defRPr>
            </a:lvl1pPr>
          </a:lstStyle>
          <a:p>
            <a:pPr lvl="0"/>
            <a:endParaRPr lang="de-DE"/>
          </a:p>
        </p:txBody>
      </p:sp>
      <p:sp>
        <p:nvSpPr>
          <p:cNvPr id="15" name="Textfeld 14">
            <a:extLst>
              <a:ext uri="{FF2B5EF4-FFF2-40B4-BE49-F238E27FC236}">
                <a16:creationId xmlns:a16="http://schemas.microsoft.com/office/drawing/2014/main" id="{5775BD5D-B471-D8FD-C92F-25667B81C956}"/>
              </a:ext>
            </a:extLst>
          </p:cNvPr>
          <p:cNvSpPr txBox="1"/>
          <p:nvPr userDrawn="1"/>
        </p:nvSpPr>
        <p:spPr>
          <a:xfrm>
            <a:off x="587375" y="1808164"/>
            <a:ext cx="3521075" cy="2500043"/>
          </a:xfrm>
          <a:prstGeom prst="rect">
            <a:avLst/>
          </a:prstGeom>
          <a:noFill/>
        </p:spPr>
        <p:txBody>
          <a:bodyPr wrap="square" lIns="0" tIns="0" rIns="0" bIns="0" rtlCol="0">
            <a:spAutoFit/>
          </a:bodyPr>
          <a:lstStyle/>
          <a:p>
            <a:pPr>
              <a:lnSpc>
                <a:spcPct val="135000"/>
              </a:lnSpc>
            </a:pPr>
            <a:r>
              <a:rPr lang="de-DE" sz="1200" err="1">
                <a:solidFill>
                  <a:schemeClr val="tx1"/>
                </a:solidFill>
                <a:latin typeface="+mj-lt"/>
              </a:rPr>
              <a:t>byte</a:t>
            </a:r>
            <a:r>
              <a:rPr lang="de-DE" sz="1200">
                <a:solidFill>
                  <a:schemeClr val="tx1"/>
                </a:solidFill>
                <a:latin typeface="+mj-lt"/>
              </a:rPr>
              <a:t> – Bayerische Agentur für Digitales GmbH</a:t>
            </a:r>
          </a:p>
          <a:p>
            <a:pPr>
              <a:lnSpc>
                <a:spcPct val="135000"/>
              </a:lnSpc>
            </a:pPr>
            <a:r>
              <a:rPr lang="de-DE" sz="1200">
                <a:solidFill>
                  <a:schemeClr val="tx1"/>
                </a:solidFill>
              </a:rPr>
              <a:t>Oskar-von-Miller-Ring 35</a:t>
            </a:r>
          </a:p>
          <a:p>
            <a:pPr>
              <a:lnSpc>
                <a:spcPct val="135000"/>
              </a:lnSpc>
              <a:spcAft>
                <a:spcPts val="2200"/>
              </a:spcAft>
            </a:pPr>
            <a:r>
              <a:rPr lang="de-DE" sz="1200">
                <a:solidFill>
                  <a:schemeClr val="tx1"/>
                </a:solidFill>
              </a:rPr>
              <a:t>D-80333 München</a:t>
            </a:r>
          </a:p>
          <a:p>
            <a:pPr>
              <a:lnSpc>
                <a:spcPct val="135000"/>
              </a:lnSpc>
            </a:pPr>
            <a:r>
              <a:rPr lang="de-DE" sz="1200">
                <a:solidFill>
                  <a:schemeClr val="tx1"/>
                </a:solidFill>
                <a:latin typeface="+mj-lt"/>
              </a:rPr>
              <a:t>Registergericht</a:t>
            </a:r>
          </a:p>
          <a:p>
            <a:pPr>
              <a:lnSpc>
                <a:spcPct val="135000"/>
              </a:lnSpc>
            </a:pPr>
            <a:r>
              <a:rPr lang="de-DE" sz="1200">
                <a:solidFill>
                  <a:schemeClr val="tx1"/>
                </a:solidFill>
              </a:rPr>
              <a:t>Amtsgericht München, HRB 273196</a:t>
            </a:r>
          </a:p>
          <a:p>
            <a:pPr>
              <a:lnSpc>
                <a:spcPct val="135000"/>
              </a:lnSpc>
            </a:pPr>
            <a:r>
              <a:rPr lang="de-DE" sz="1200">
                <a:solidFill>
                  <a:schemeClr val="tx1"/>
                </a:solidFill>
                <a:latin typeface="+mj-lt"/>
              </a:rPr>
              <a:t>Geschäftsführung</a:t>
            </a:r>
            <a:r>
              <a:rPr lang="de-DE" sz="1200">
                <a:solidFill>
                  <a:schemeClr val="tx1"/>
                </a:solidFill>
              </a:rPr>
              <a:t> </a:t>
            </a:r>
          </a:p>
          <a:p>
            <a:pPr>
              <a:lnSpc>
                <a:spcPct val="135000"/>
              </a:lnSpc>
            </a:pPr>
            <a:r>
              <a:rPr lang="de-DE" sz="1200">
                <a:solidFill>
                  <a:schemeClr val="tx1"/>
                </a:solidFill>
              </a:rPr>
              <a:t>Antonia Zierer, Thorsten Kühnel</a:t>
            </a:r>
          </a:p>
          <a:p>
            <a:pPr>
              <a:lnSpc>
                <a:spcPct val="135000"/>
              </a:lnSpc>
            </a:pPr>
            <a:r>
              <a:rPr lang="de-DE" sz="1200">
                <a:solidFill>
                  <a:schemeClr val="tx1"/>
                </a:solidFill>
                <a:latin typeface="+mj-lt"/>
              </a:rPr>
              <a:t>Postanschrift</a:t>
            </a:r>
          </a:p>
          <a:p>
            <a:pPr>
              <a:lnSpc>
                <a:spcPct val="135000"/>
              </a:lnSpc>
            </a:pPr>
            <a:r>
              <a:rPr lang="de-DE" sz="1200">
                <a:solidFill>
                  <a:schemeClr val="tx1"/>
                </a:solidFill>
              </a:rPr>
              <a:t>Orleanstraße 24, 81669 München</a:t>
            </a:r>
          </a:p>
        </p:txBody>
      </p:sp>
      <p:sp>
        <p:nvSpPr>
          <p:cNvPr id="9" name="Foliennummernplatzhalter 3">
            <a:extLst>
              <a:ext uri="{FF2B5EF4-FFF2-40B4-BE49-F238E27FC236}">
                <a16:creationId xmlns:a16="http://schemas.microsoft.com/office/drawing/2014/main" id="{A80D8BC7-B231-3015-E646-EB7380D437B4}"/>
              </a:ext>
            </a:extLst>
          </p:cNvPr>
          <p:cNvSpPr>
            <a:spLocks noGrp="1"/>
          </p:cNvSpPr>
          <p:nvPr>
            <p:ph type="sldNum" sz="quarter" idx="12"/>
          </p:nvPr>
        </p:nvSpPr>
        <p:spPr>
          <a:xfrm>
            <a:off x="11151393" y="6573838"/>
            <a:ext cx="848519" cy="123111"/>
          </a:xfrm>
        </p:spPr>
        <p:txBody>
          <a:bodyPr/>
          <a:lstStyle>
            <a:lvl1pPr>
              <a:defRPr>
                <a:solidFill>
                  <a:schemeClr val="bg1"/>
                </a:solidFill>
              </a:defRPr>
            </a:lvl1pPr>
          </a:lstStyle>
          <a:p>
            <a:r>
              <a:rPr lang="de-DE"/>
              <a:t>Seite </a:t>
            </a:r>
            <a:fld id="{F3829FEA-ED73-4A5A-98B4-E51078EAB7AC}" type="slidenum">
              <a:rPr lang="de-DE" smtClean="0">
                <a:latin typeface="+mj-lt"/>
              </a:rPr>
              <a:pPr/>
              <a:t>‹Nr.›</a:t>
            </a:fld>
            <a:endParaRPr lang="de-DE">
              <a:latin typeface="+mj-lt"/>
            </a:endParaRPr>
          </a:p>
        </p:txBody>
      </p:sp>
      <p:pic>
        <p:nvPicPr>
          <p:cNvPr id="6" name="Grafik 5">
            <a:extLst>
              <a:ext uri="{FF2B5EF4-FFF2-40B4-BE49-F238E27FC236}">
                <a16:creationId xmlns:a16="http://schemas.microsoft.com/office/drawing/2014/main" id="{93BCEB2B-3C19-BB27-8BA5-1D41AE1CD4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55112" y="195211"/>
            <a:ext cx="5822379" cy="6062346"/>
          </a:xfrm>
          <a:prstGeom prst="rect">
            <a:avLst/>
          </a:prstGeom>
        </p:spPr>
      </p:pic>
      <p:grpSp>
        <p:nvGrpSpPr>
          <p:cNvPr id="55" name="Gruppieren 54">
            <a:extLst>
              <a:ext uri="{FF2B5EF4-FFF2-40B4-BE49-F238E27FC236}">
                <a16:creationId xmlns:a16="http://schemas.microsoft.com/office/drawing/2014/main" id="{66892704-F3F0-AD24-6FF5-C6848ACB90AE}"/>
              </a:ext>
            </a:extLst>
          </p:cNvPr>
          <p:cNvGrpSpPr/>
          <p:nvPr userDrawn="1"/>
        </p:nvGrpSpPr>
        <p:grpSpPr>
          <a:xfrm>
            <a:off x="11115518" y="188913"/>
            <a:ext cx="884395" cy="1075002"/>
            <a:chOff x="11115518" y="188913"/>
            <a:chExt cx="884395" cy="1075002"/>
          </a:xfrm>
        </p:grpSpPr>
        <p:sp>
          <p:nvSpPr>
            <p:cNvPr id="11" name="Freihandform: Form 10">
              <a:extLst>
                <a:ext uri="{FF2B5EF4-FFF2-40B4-BE49-F238E27FC236}">
                  <a16:creationId xmlns:a16="http://schemas.microsoft.com/office/drawing/2014/main" id="{471446E5-A112-1491-BA74-759BCC17D89D}"/>
                </a:ext>
              </a:extLst>
            </p:cNvPr>
            <p:cNvSpPr/>
            <p:nvPr/>
          </p:nvSpPr>
          <p:spPr>
            <a:xfrm>
              <a:off x="11115518" y="188913"/>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b="1"/>
            </a:p>
          </p:txBody>
        </p:sp>
        <p:sp>
          <p:nvSpPr>
            <p:cNvPr id="13" name="Freihandform: Form 12">
              <a:extLst>
                <a:ext uri="{FF2B5EF4-FFF2-40B4-BE49-F238E27FC236}">
                  <a16:creationId xmlns:a16="http://schemas.microsoft.com/office/drawing/2014/main" id="{536614C2-B96E-1F46-BA68-6AC54149C9D7}"/>
                </a:ext>
              </a:extLst>
            </p:cNvPr>
            <p:cNvSpPr/>
            <p:nvPr/>
          </p:nvSpPr>
          <p:spPr>
            <a:xfrm>
              <a:off x="11643096" y="306208"/>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b="1"/>
            </a:p>
          </p:txBody>
        </p:sp>
        <p:sp>
          <p:nvSpPr>
            <p:cNvPr id="16" name="Freihandform: Form 15">
              <a:extLst>
                <a:ext uri="{FF2B5EF4-FFF2-40B4-BE49-F238E27FC236}">
                  <a16:creationId xmlns:a16="http://schemas.microsoft.com/office/drawing/2014/main" id="{5DA4B0E6-52FD-9F9A-FF4A-47C80FA8B565}"/>
                </a:ext>
              </a:extLst>
            </p:cNvPr>
            <p:cNvSpPr/>
            <p:nvPr/>
          </p:nvSpPr>
          <p:spPr>
            <a:xfrm>
              <a:off x="11760518" y="540042"/>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b="1"/>
            </a:p>
          </p:txBody>
        </p:sp>
        <p:sp>
          <p:nvSpPr>
            <p:cNvPr id="17" name="Freihandform: Form 16">
              <a:extLst>
                <a:ext uri="{FF2B5EF4-FFF2-40B4-BE49-F238E27FC236}">
                  <a16:creationId xmlns:a16="http://schemas.microsoft.com/office/drawing/2014/main" id="{F551150B-8CDD-720A-2499-B1F02842DAE4}"/>
                </a:ext>
              </a:extLst>
            </p:cNvPr>
            <p:cNvSpPr/>
            <p:nvPr/>
          </p:nvSpPr>
          <p:spPr>
            <a:xfrm>
              <a:off x="11525800" y="422746"/>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b="1"/>
            </a:p>
          </p:txBody>
        </p:sp>
        <p:sp>
          <p:nvSpPr>
            <p:cNvPr id="18" name="Freihandform: Form 17">
              <a:extLst>
                <a:ext uri="{FF2B5EF4-FFF2-40B4-BE49-F238E27FC236}">
                  <a16:creationId xmlns:a16="http://schemas.microsoft.com/office/drawing/2014/main" id="{05E66A12-8F99-31A3-CBAE-A792486DEB95}"/>
                </a:ext>
              </a:extLst>
            </p:cNvPr>
            <p:cNvSpPr/>
            <p:nvPr/>
          </p:nvSpPr>
          <p:spPr>
            <a:xfrm>
              <a:off x="11525800" y="18891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b="1"/>
            </a:p>
          </p:txBody>
        </p:sp>
        <p:grpSp>
          <p:nvGrpSpPr>
            <p:cNvPr id="19" name="Gruppieren 18">
              <a:extLst>
                <a:ext uri="{FF2B5EF4-FFF2-40B4-BE49-F238E27FC236}">
                  <a16:creationId xmlns:a16="http://schemas.microsoft.com/office/drawing/2014/main" id="{FAB590F4-B0C6-C455-7D41-E162C12DD691}"/>
                </a:ext>
              </a:extLst>
            </p:cNvPr>
            <p:cNvGrpSpPr/>
            <p:nvPr userDrawn="1"/>
          </p:nvGrpSpPr>
          <p:grpSpPr>
            <a:xfrm>
              <a:off x="11115897" y="1129176"/>
              <a:ext cx="883889" cy="134739"/>
              <a:chOff x="12266005" y="1135893"/>
              <a:chExt cx="883889" cy="134739"/>
            </a:xfrm>
            <a:solidFill>
              <a:schemeClr val="tx1"/>
            </a:solidFill>
          </p:grpSpPr>
          <p:sp>
            <p:nvSpPr>
              <p:cNvPr id="26" name="Freihandform: Form 25">
                <a:extLst>
                  <a:ext uri="{FF2B5EF4-FFF2-40B4-BE49-F238E27FC236}">
                    <a16:creationId xmlns:a16="http://schemas.microsoft.com/office/drawing/2014/main" id="{D5AA29A5-7BFB-0C64-2D6B-A87D2C0F963E}"/>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b="1"/>
              </a:p>
            </p:txBody>
          </p:sp>
          <p:sp>
            <p:nvSpPr>
              <p:cNvPr id="27" name="Freihandform: Form 26">
                <a:extLst>
                  <a:ext uri="{FF2B5EF4-FFF2-40B4-BE49-F238E27FC236}">
                    <a16:creationId xmlns:a16="http://schemas.microsoft.com/office/drawing/2014/main" id="{3E4037E5-82EC-C877-F35C-971B5CAC0B02}"/>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b="1"/>
              </a:p>
            </p:txBody>
          </p:sp>
          <p:sp>
            <p:nvSpPr>
              <p:cNvPr id="28" name="Freihandform: Form 27">
                <a:extLst>
                  <a:ext uri="{FF2B5EF4-FFF2-40B4-BE49-F238E27FC236}">
                    <a16:creationId xmlns:a16="http://schemas.microsoft.com/office/drawing/2014/main" id="{C39CE723-7B37-A146-BAD1-9539FA97C06D}"/>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b="1"/>
              </a:p>
            </p:txBody>
          </p:sp>
          <p:sp>
            <p:nvSpPr>
              <p:cNvPr id="29" name="Freihandform: Form 28">
                <a:extLst>
                  <a:ext uri="{FF2B5EF4-FFF2-40B4-BE49-F238E27FC236}">
                    <a16:creationId xmlns:a16="http://schemas.microsoft.com/office/drawing/2014/main" id="{51BB3467-A8AA-B1FD-C793-E9FF38CBA970}"/>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b="1"/>
              </a:p>
            </p:txBody>
          </p:sp>
          <p:sp>
            <p:nvSpPr>
              <p:cNvPr id="30" name="Freihandform: Form 29">
                <a:extLst>
                  <a:ext uri="{FF2B5EF4-FFF2-40B4-BE49-F238E27FC236}">
                    <a16:creationId xmlns:a16="http://schemas.microsoft.com/office/drawing/2014/main" id="{42AFEFF2-664D-28B2-9961-732F3F3F6B6F}"/>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b="1"/>
              </a:p>
            </p:txBody>
          </p:sp>
          <p:sp>
            <p:nvSpPr>
              <p:cNvPr id="31" name="Freihandform: Form 30">
                <a:extLst>
                  <a:ext uri="{FF2B5EF4-FFF2-40B4-BE49-F238E27FC236}">
                    <a16:creationId xmlns:a16="http://schemas.microsoft.com/office/drawing/2014/main" id="{C07C7C4F-5D3A-172B-AA2D-F36F90DCDB32}"/>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b="1"/>
              </a:p>
            </p:txBody>
          </p:sp>
          <p:sp>
            <p:nvSpPr>
              <p:cNvPr id="32" name="Freihandform: Form 31">
                <a:extLst>
                  <a:ext uri="{FF2B5EF4-FFF2-40B4-BE49-F238E27FC236}">
                    <a16:creationId xmlns:a16="http://schemas.microsoft.com/office/drawing/2014/main" id="{5F795521-8DA6-5ABC-0AF5-3201D233FDD8}"/>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b="1"/>
              </a:p>
            </p:txBody>
          </p:sp>
          <p:sp>
            <p:nvSpPr>
              <p:cNvPr id="33" name="Freihandform: Form 32">
                <a:extLst>
                  <a:ext uri="{FF2B5EF4-FFF2-40B4-BE49-F238E27FC236}">
                    <a16:creationId xmlns:a16="http://schemas.microsoft.com/office/drawing/2014/main" id="{3206E094-56F6-63C4-5C55-EC30D39EA0AF}"/>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b="1"/>
              </a:p>
            </p:txBody>
          </p:sp>
          <p:sp>
            <p:nvSpPr>
              <p:cNvPr id="34" name="Freihandform: Form 33">
                <a:extLst>
                  <a:ext uri="{FF2B5EF4-FFF2-40B4-BE49-F238E27FC236}">
                    <a16:creationId xmlns:a16="http://schemas.microsoft.com/office/drawing/2014/main" id="{C8D63CA4-9C76-CA41-F3C1-C3CC781DCE29}"/>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b="1"/>
              </a:p>
            </p:txBody>
          </p:sp>
          <p:sp>
            <p:nvSpPr>
              <p:cNvPr id="35" name="Freihandform: Form 34">
                <a:extLst>
                  <a:ext uri="{FF2B5EF4-FFF2-40B4-BE49-F238E27FC236}">
                    <a16:creationId xmlns:a16="http://schemas.microsoft.com/office/drawing/2014/main" id="{3CA742C9-61AB-9367-625C-85143DF4B170}"/>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b="1"/>
              </a:p>
            </p:txBody>
          </p:sp>
          <p:sp>
            <p:nvSpPr>
              <p:cNvPr id="36" name="Freihandform: Form 35">
                <a:extLst>
                  <a:ext uri="{FF2B5EF4-FFF2-40B4-BE49-F238E27FC236}">
                    <a16:creationId xmlns:a16="http://schemas.microsoft.com/office/drawing/2014/main" id="{59ABDC74-04AF-FC87-5D0A-AAA2F61261CC}"/>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b="1"/>
              </a:p>
            </p:txBody>
          </p:sp>
          <p:sp>
            <p:nvSpPr>
              <p:cNvPr id="37" name="Freihandform: Form 36">
                <a:extLst>
                  <a:ext uri="{FF2B5EF4-FFF2-40B4-BE49-F238E27FC236}">
                    <a16:creationId xmlns:a16="http://schemas.microsoft.com/office/drawing/2014/main" id="{EE86FF99-2596-FA46-2B8A-0EF1C800FF6A}"/>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b="1"/>
              </a:p>
            </p:txBody>
          </p:sp>
          <p:sp>
            <p:nvSpPr>
              <p:cNvPr id="38" name="Freihandform: Form 37">
                <a:extLst>
                  <a:ext uri="{FF2B5EF4-FFF2-40B4-BE49-F238E27FC236}">
                    <a16:creationId xmlns:a16="http://schemas.microsoft.com/office/drawing/2014/main" id="{5D4E5131-CE40-55B0-43F2-D1FFCAEEBAB8}"/>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b="1"/>
              </a:p>
            </p:txBody>
          </p:sp>
          <p:sp>
            <p:nvSpPr>
              <p:cNvPr id="39" name="Freihandform: Form 38">
                <a:extLst>
                  <a:ext uri="{FF2B5EF4-FFF2-40B4-BE49-F238E27FC236}">
                    <a16:creationId xmlns:a16="http://schemas.microsoft.com/office/drawing/2014/main" id="{7F50118B-F61D-D02D-E66E-45065A3A4002}"/>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b="1"/>
              </a:p>
            </p:txBody>
          </p:sp>
          <p:sp>
            <p:nvSpPr>
              <p:cNvPr id="40" name="Freihandform: Form 39">
                <a:extLst>
                  <a:ext uri="{FF2B5EF4-FFF2-40B4-BE49-F238E27FC236}">
                    <a16:creationId xmlns:a16="http://schemas.microsoft.com/office/drawing/2014/main" id="{8D70381D-F75D-88B9-BD94-85906D19E5F0}"/>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b="1"/>
              </a:p>
            </p:txBody>
          </p:sp>
          <p:sp>
            <p:nvSpPr>
              <p:cNvPr id="41" name="Freihandform: Form 40">
                <a:extLst>
                  <a:ext uri="{FF2B5EF4-FFF2-40B4-BE49-F238E27FC236}">
                    <a16:creationId xmlns:a16="http://schemas.microsoft.com/office/drawing/2014/main" id="{6693C132-E352-58FF-FAAC-94888D053F10}"/>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b="1"/>
              </a:p>
            </p:txBody>
          </p:sp>
          <p:sp>
            <p:nvSpPr>
              <p:cNvPr id="42" name="Freihandform: Form 41">
                <a:extLst>
                  <a:ext uri="{FF2B5EF4-FFF2-40B4-BE49-F238E27FC236}">
                    <a16:creationId xmlns:a16="http://schemas.microsoft.com/office/drawing/2014/main" id="{7BEDFC85-1238-DECB-3A5B-1F652ED6AA87}"/>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b="1"/>
              </a:p>
            </p:txBody>
          </p:sp>
          <p:sp>
            <p:nvSpPr>
              <p:cNvPr id="43" name="Freihandform: Form 42">
                <a:extLst>
                  <a:ext uri="{FF2B5EF4-FFF2-40B4-BE49-F238E27FC236}">
                    <a16:creationId xmlns:a16="http://schemas.microsoft.com/office/drawing/2014/main" id="{9ABB74EC-D6D4-C057-46B6-FF86475B5697}"/>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b="1"/>
              </a:p>
            </p:txBody>
          </p:sp>
          <p:sp>
            <p:nvSpPr>
              <p:cNvPr id="44" name="Freihandform: Form 43">
                <a:extLst>
                  <a:ext uri="{FF2B5EF4-FFF2-40B4-BE49-F238E27FC236}">
                    <a16:creationId xmlns:a16="http://schemas.microsoft.com/office/drawing/2014/main" id="{6FFB3112-FC38-0F3A-3AAC-0E642F95D79A}"/>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b="1"/>
              </a:p>
            </p:txBody>
          </p:sp>
          <p:sp>
            <p:nvSpPr>
              <p:cNvPr id="45" name="Freihandform: Form 44">
                <a:extLst>
                  <a:ext uri="{FF2B5EF4-FFF2-40B4-BE49-F238E27FC236}">
                    <a16:creationId xmlns:a16="http://schemas.microsoft.com/office/drawing/2014/main" id="{E1FA8E00-E442-97D1-7664-CFED2AB04A7F}"/>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b="1"/>
              </a:p>
            </p:txBody>
          </p:sp>
          <p:sp>
            <p:nvSpPr>
              <p:cNvPr id="46" name="Freihandform: Form 45">
                <a:extLst>
                  <a:ext uri="{FF2B5EF4-FFF2-40B4-BE49-F238E27FC236}">
                    <a16:creationId xmlns:a16="http://schemas.microsoft.com/office/drawing/2014/main" id="{BD1EEAAE-C9BB-8C98-F42C-7468A87EA06C}"/>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b="1"/>
              </a:p>
            </p:txBody>
          </p:sp>
          <p:sp>
            <p:nvSpPr>
              <p:cNvPr id="47" name="Freihandform: Form 46">
                <a:extLst>
                  <a:ext uri="{FF2B5EF4-FFF2-40B4-BE49-F238E27FC236}">
                    <a16:creationId xmlns:a16="http://schemas.microsoft.com/office/drawing/2014/main" id="{6907D159-465B-961F-B008-779ED484946F}"/>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b="1"/>
              </a:p>
            </p:txBody>
          </p:sp>
          <p:sp>
            <p:nvSpPr>
              <p:cNvPr id="48" name="Freihandform: Form 47">
                <a:extLst>
                  <a:ext uri="{FF2B5EF4-FFF2-40B4-BE49-F238E27FC236}">
                    <a16:creationId xmlns:a16="http://schemas.microsoft.com/office/drawing/2014/main" id="{27CF8C2C-24A4-37D7-E3A4-C485C0B7C210}"/>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b="1"/>
              </a:p>
            </p:txBody>
          </p:sp>
          <p:sp>
            <p:nvSpPr>
              <p:cNvPr id="49" name="Freihandform: Form 48">
                <a:extLst>
                  <a:ext uri="{FF2B5EF4-FFF2-40B4-BE49-F238E27FC236}">
                    <a16:creationId xmlns:a16="http://schemas.microsoft.com/office/drawing/2014/main" id="{7E5CA547-1F59-D7E7-A3FC-7D6E103FE8E3}"/>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b="1"/>
              </a:p>
            </p:txBody>
          </p:sp>
          <p:sp>
            <p:nvSpPr>
              <p:cNvPr id="50" name="Freihandform: Form 49">
                <a:extLst>
                  <a:ext uri="{FF2B5EF4-FFF2-40B4-BE49-F238E27FC236}">
                    <a16:creationId xmlns:a16="http://schemas.microsoft.com/office/drawing/2014/main" id="{1BD090E7-7C80-C8A8-3207-8A0E937DF3EE}"/>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b="1"/>
              </a:p>
            </p:txBody>
          </p:sp>
          <p:sp>
            <p:nvSpPr>
              <p:cNvPr id="51" name="Freihandform: Form 50">
                <a:extLst>
                  <a:ext uri="{FF2B5EF4-FFF2-40B4-BE49-F238E27FC236}">
                    <a16:creationId xmlns:a16="http://schemas.microsoft.com/office/drawing/2014/main" id="{7A818BDD-792C-D75C-3042-76974D04B4D5}"/>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b="1"/>
              </a:p>
            </p:txBody>
          </p:sp>
          <p:sp>
            <p:nvSpPr>
              <p:cNvPr id="52" name="Freihandform: Form 51">
                <a:extLst>
                  <a:ext uri="{FF2B5EF4-FFF2-40B4-BE49-F238E27FC236}">
                    <a16:creationId xmlns:a16="http://schemas.microsoft.com/office/drawing/2014/main" id="{0652F74C-BB07-83C9-CDE6-F389B9D6D699}"/>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b="1"/>
              </a:p>
            </p:txBody>
          </p:sp>
          <p:sp>
            <p:nvSpPr>
              <p:cNvPr id="53" name="Freihandform: Form 52">
                <a:extLst>
                  <a:ext uri="{FF2B5EF4-FFF2-40B4-BE49-F238E27FC236}">
                    <a16:creationId xmlns:a16="http://schemas.microsoft.com/office/drawing/2014/main" id="{07612E6C-0463-B1CB-877B-9148265CC56F}"/>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b="1"/>
              </a:p>
            </p:txBody>
          </p:sp>
          <p:sp>
            <p:nvSpPr>
              <p:cNvPr id="54" name="Freihandform: Form 53">
                <a:extLst>
                  <a:ext uri="{FF2B5EF4-FFF2-40B4-BE49-F238E27FC236}">
                    <a16:creationId xmlns:a16="http://schemas.microsoft.com/office/drawing/2014/main" id="{AF79634C-03BB-AC0C-4432-EF4C9A5AAF48}"/>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b="1"/>
              </a:p>
            </p:txBody>
          </p:sp>
        </p:grpSp>
        <p:sp>
          <p:nvSpPr>
            <p:cNvPr id="20" name="Freihandform: Form 19">
              <a:extLst>
                <a:ext uri="{FF2B5EF4-FFF2-40B4-BE49-F238E27FC236}">
                  <a16:creationId xmlns:a16="http://schemas.microsoft.com/office/drawing/2014/main" id="{EECC9C38-0423-D374-FD3B-2BDAD656030E}"/>
                </a:ext>
              </a:extLst>
            </p:cNvPr>
            <p:cNvSpPr/>
            <p:nvPr/>
          </p:nvSpPr>
          <p:spPr>
            <a:xfrm>
              <a:off x="11184783" y="753273"/>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b="1"/>
            </a:p>
          </p:txBody>
        </p:sp>
        <p:sp>
          <p:nvSpPr>
            <p:cNvPr id="21" name="Freihandform: Form 20">
              <a:extLst>
                <a:ext uri="{FF2B5EF4-FFF2-40B4-BE49-F238E27FC236}">
                  <a16:creationId xmlns:a16="http://schemas.microsoft.com/office/drawing/2014/main" id="{1FBC71D2-A2CA-0BDE-A0ED-2F0A9FAC85B5}"/>
                </a:ext>
              </a:extLst>
            </p:cNvPr>
            <p:cNvSpPr/>
            <p:nvPr/>
          </p:nvSpPr>
          <p:spPr>
            <a:xfrm>
              <a:off x="11403322" y="802062"/>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b="1"/>
            </a:p>
          </p:txBody>
        </p:sp>
        <p:sp>
          <p:nvSpPr>
            <p:cNvPr id="22" name="Freihandform: Form 21">
              <a:extLst>
                <a:ext uri="{FF2B5EF4-FFF2-40B4-BE49-F238E27FC236}">
                  <a16:creationId xmlns:a16="http://schemas.microsoft.com/office/drawing/2014/main" id="{15EAA11E-F81E-DD39-07A0-B83425AAE459}"/>
                </a:ext>
              </a:extLst>
            </p:cNvPr>
            <p:cNvSpPr/>
            <p:nvPr/>
          </p:nvSpPr>
          <p:spPr>
            <a:xfrm>
              <a:off x="11623126" y="755042"/>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b="1"/>
            </a:p>
          </p:txBody>
        </p:sp>
        <p:sp>
          <p:nvSpPr>
            <p:cNvPr id="23" name="Freihandform: Form 22">
              <a:extLst>
                <a:ext uri="{FF2B5EF4-FFF2-40B4-BE49-F238E27FC236}">
                  <a16:creationId xmlns:a16="http://schemas.microsoft.com/office/drawing/2014/main" id="{DCA86326-216C-6E31-A9BE-45DA4EAF90EB}"/>
                </a:ext>
              </a:extLst>
            </p:cNvPr>
            <p:cNvSpPr/>
            <p:nvPr/>
          </p:nvSpPr>
          <p:spPr>
            <a:xfrm>
              <a:off x="11780110" y="801556"/>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b="1"/>
            </a:p>
          </p:txBody>
        </p:sp>
        <p:sp>
          <p:nvSpPr>
            <p:cNvPr id="24" name="Freihandform: Form 23">
              <a:extLst>
                <a:ext uri="{FF2B5EF4-FFF2-40B4-BE49-F238E27FC236}">
                  <a16:creationId xmlns:a16="http://schemas.microsoft.com/office/drawing/2014/main" id="{6C83445D-6650-5B2D-E27C-7E32856E1FF2}"/>
                </a:ext>
              </a:extLst>
            </p:cNvPr>
            <p:cNvSpPr/>
            <p:nvPr/>
          </p:nvSpPr>
          <p:spPr>
            <a:xfrm>
              <a:off x="11760518" y="306208"/>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b="1"/>
            </a:p>
          </p:txBody>
        </p:sp>
        <p:sp>
          <p:nvSpPr>
            <p:cNvPr id="25" name="Freihandform: Form 24">
              <a:extLst>
                <a:ext uri="{FF2B5EF4-FFF2-40B4-BE49-F238E27FC236}">
                  <a16:creationId xmlns:a16="http://schemas.microsoft.com/office/drawing/2014/main" id="{18E48144-736C-8095-4194-27BD5BF0F298}"/>
                </a:ext>
              </a:extLst>
            </p:cNvPr>
            <p:cNvSpPr/>
            <p:nvPr/>
          </p:nvSpPr>
          <p:spPr>
            <a:xfrm>
              <a:off x="11760518" y="18891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b="1"/>
            </a:p>
          </p:txBody>
        </p:sp>
      </p:grpSp>
    </p:spTree>
    <p:extLst>
      <p:ext uri="{BB962C8B-B14F-4D97-AF65-F5344CB8AC3E}">
        <p14:creationId xmlns:p14="http://schemas.microsoft.com/office/powerpoint/2010/main" val="19139023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eere_Seite_Kar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E19A3E7D-AF1A-4D3E-822F-E9157DEA58F9}"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pic>
        <p:nvPicPr>
          <p:cNvPr id="10" name="Grafik 9">
            <a:extLst>
              <a:ext uri="{FF2B5EF4-FFF2-40B4-BE49-F238E27FC236}">
                <a16:creationId xmlns:a16="http://schemas.microsoft.com/office/drawing/2014/main" id="{3E7309EF-7677-83F4-1182-EF72098346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7762" y="188913"/>
            <a:ext cx="3232151" cy="1091376"/>
          </a:xfrm>
          <a:prstGeom prst="rect">
            <a:avLst/>
          </a:prstGeom>
        </p:spPr>
      </p:pic>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7216209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_Bi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47EF7EB3-6D1D-4B0B-B3F8-F3B2751CB2E6}"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bg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8" name="Textplatzhalter 7">
            <a:extLst>
              <a:ext uri="{FF2B5EF4-FFF2-40B4-BE49-F238E27FC236}">
                <a16:creationId xmlns:a16="http://schemas.microsoft.com/office/drawing/2014/main" id="{89AE22B5-7AB2-09E4-21D0-F7739B0B817B}"/>
              </a:ext>
            </a:extLst>
          </p:cNvPr>
          <p:cNvSpPr>
            <a:spLocks noGrp="1"/>
          </p:cNvSpPr>
          <p:nvPr>
            <p:ph type="body" sz="quarter" idx="13"/>
          </p:nvPr>
        </p:nvSpPr>
        <p:spPr>
          <a:xfrm>
            <a:off x="587375" y="1808163"/>
            <a:ext cx="5003800" cy="4608512"/>
          </a:xfrm>
          <a:prstGeom prst="rect">
            <a:avLst/>
          </a:prstGeom>
        </p:spPr>
        <p:txBody>
          <a:bodyPr/>
          <a:lstStyle/>
          <a:p>
            <a:pPr lvl="0"/>
            <a:r>
              <a:rPr lang="de-DE"/>
              <a:t>Mastertextformat bearbeiten</a:t>
            </a:r>
          </a:p>
          <a:p>
            <a:pPr lvl="1"/>
            <a:r>
              <a:rPr lang="de-DE"/>
              <a:t>Zweite Ebene</a:t>
            </a:r>
          </a:p>
          <a:p>
            <a:pPr lvl="2"/>
            <a:r>
              <a:rPr lang="de-DE"/>
              <a:t>Dritte Ebene</a:t>
            </a:r>
          </a:p>
        </p:txBody>
      </p:sp>
      <p:pic>
        <p:nvPicPr>
          <p:cNvPr id="10" name="Grafik 9">
            <a:extLst>
              <a:ext uri="{FF2B5EF4-FFF2-40B4-BE49-F238E27FC236}">
                <a16:creationId xmlns:a16="http://schemas.microsoft.com/office/drawing/2014/main" id="{3E7309EF-7677-83F4-1182-EF72098346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7762" y="188913"/>
            <a:ext cx="3232151" cy="1091376"/>
          </a:xfrm>
          <a:prstGeom prst="rect">
            <a:avLst/>
          </a:prstGeom>
        </p:spPr>
      </p:pic>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7" name="Inhaltsplatzhalter 6">
            <a:extLst>
              <a:ext uri="{FF2B5EF4-FFF2-40B4-BE49-F238E27FC236}">
                <a16:creationId xmlns:a16="http://schemas.microsoft.com/office/drawing/2014/main" id="{4C7D3B05-D223-E375-DB5B-382B12E9D9DB}"/>
              </a:ext>
            </a:extLst>
          </p:cNvPr>
          <p:cNvSpPr>
            <a:spLocks noGrp="1"/>
          </p:cNvSpPr>
          <p:nvPr>
            <p:ph sz="quarter" idx="14" hasCustomPrompt="1"/>
          </p:nvPr>
        </p:nvSpPr>
        <p:spPr>
          <a:xfrm>
            <a:off x="6167438" y="1808163"/>
            <a:ext cx="6024562" cy="5049837"/>
          </a:xfrm>
          <a:noFill/>
        </p:spPr>
        <p:txBody>
          <a:bodyPr anchor="ctr"/>
          <a:lstStyle>
            <a:lvl1pPr algn="ctr">
              <a:defRPr b="0">
                <a:latin typeface="+mj-lt"/>
              </a:defRPr>
            </a:lvl1pPr>
          </a:lstStyle>
          <a:p>
            <a:pPr lvl="0"/>
            <a:r>
              <a:rPr lang="de-DE"/>
              <a:t>Grafik/Foto</a:t>
            </a:r>
          </a:p>
        </p:txBody>
      </p:sp>
    </p:spTree>
    <p:extLst>
      <p:ext uri="{BB962C8B-B14F-4D97-AF65-F5344CB8AC3E}">
        <p14:creationId xmlns:p14="http://schemas.microsoft.com/office/powerpoint/2010/main" val="39948798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_Diagramm/Grafik">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BB930E02-B67C-482C-94F5-D026518CC16A}"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8" name="Textplatzhalter 7">
            <a:extLst>
              <a:ext uri="{FF2B5EF4-FFF2-40B4-BE49-F238E27FC236}">
                <a16:creationId xmlns:a16="http://schemas.microsoft.com/office/drawing/2014/main" id="{89AE22B5-7AB2-09E4-21D0-F7739B0B817B}"/>
              </a:ext>
            </a:extLst>
          </p:cNvPr>
          <p:cNvSpPr>
            <a:spLocks noGrp="1"/>
          </p:cNvSpPr>
          <p:nvPr>
            <p:ph type="body" sz="quarter" idx="13"/>
          </p:nvPr>
        </p:nvSpPr>
        <p:spPr>
          <a:xfrm>
            <a:off x="587375" y="1808163"/>
            <a:ext cx="5003800" cy="4608512"/>
          </a:xfrm>
          <a:prstGeom prst="rect">
            <a:avLst/>
          </a:prstGeom>
        </p:spPr>
        <p:txBody>
          <a:bodyPr/>
          <a:lstStyle/>
          <a:p>
            <a:pPr lvl="0"/>
            <a:r>
              <a:rPr lang="de-DE"/>
              <a:t>Mastertextformat bearbeiten</a:t>
            </a:r>
          </a:p>
          <a:p>
            <a:pPr lvl="1"/>
            <a:r>
              <a:rPr lang="de-DE"/>
              <a:t>Zweite Ebene</a:t>
            </a:r>
          </a:p>
          <a:p>
            <a:pPr lvl="2"/>
            <a:r>
              <a:rPr lang="de-DE"/>
              <a:t>Dritte Ebene</a:t>
            </a:r>
          </a:p>
        </p:txBody>
      </p:sp>
      <p:pic>
        <p:nvPicPr>
          <p:cNvPr id="10" name="Grafik 9">
            <a:extLst>
              <a:ext uri="{FF2B5EF4-FFF2-40B4-BE49-F238E27FC236}">
                <a16:creationId xmlns:a16="http://schemas.microsoft.com/office/drawing/2014/main" id="{3E7309EF-7677-83F4-1182-EF72098346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767762" y="188913"/>
            <a:ext cx="3232151" cy="1091376"/>
          </a:xfrm>
          <a:prstGeom prst="rect">
            <a:avLst/>
          </a:prstGeom>
        </p:spPr>
      </p:pic>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7" name="Inhaltsplatzhalter 6">
            <a:extLst>
              <a:ext uri="{FF2B5EF4-FFF2-40B4-BE49-F238E27FC236}">
                <a16:creationId xmlns:a16="http://schemas.microsoft.com/office/drawing/2014/main" id="{9EE9E286-498F-F630-CF7E-CAD5AF426FF5}"/>
              </a:ext>
            </a:extLst>
          </p:cNvPr>
          <p:cNvSpPr>
            <a:spLocks noGrp="1"/>
          </p:cNvSpPr>
          <p:nvPr>
            <p:ph sz="quarter" idx="14" hasCustomPrompt="1"/>
          </p:nvPr>
        </p:nvSpPr>
        <p:spPr>
          <a:xfrm>
            <a:off x="6167438" y="1808164"/>
            <a:ext cx="5437187" cy="4608512"/>
          </a:xfrm>
          <a:noFill/>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215309628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spaltig_Bild/Grafik_Content">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A2EA841A-9B1D-CB8E-F434-DD747A2E9C4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b="70535"/>
          <a:stretch/>
        </p:blipFill>
        <p:spPr>
          <a:xfrm>
            <a:off x="6095999" y="188914"/>
            <a:ext cx="5903913" cy="1811336"/>
          </a:xfrm>
          <a:prstGeom prst="rect">
            <a:avLst/>
          </a:prstGeom>
        </p:spPr>
      </p:pic>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5D92436F-739E-4FE0-AFF0-501991B7FCB9}"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11" name="Textplatzhalter 10">
            <a:extLst>
              <a:ext uri="{FF2B5EF4-FFF2-40B4-BE49-F238E27FC236}">
                <a16:creationId xmlns:a16="http://schemas.microsoft.com/office/drawing/2014/main" id="{0EBCC224-7532-5647-303E-492645E0CDF8}"/>
              </a:ext>
            </a:extLst>
          </p:cNvPr>
          <p:cNvSpPr>
            <a:spLocks noGrp="1"/>
          </p:cNvSpPr>
          <p:nvPr>
            <p:ph type="body" sz="quarter" idx="14"/>
          </p:nvPr>
        </p:nvSpPr>
        <p:spPr>
          <a:xfrm>
            <a:off x="587375" y="5343525"/>
            <a:ext cx="5003800" cy="1073150"/>
          </a:xfrm>
          <a:prstGeom prst="rect">
            <a:avLst/>
          </a:prstGeom>
        </p:spPr>
        <p:txBody>
          <a:bodyPr/>
          <a:lstStyle>
            <a:lvl1pPr marL="0" indent="0">
              <a:buNone/>
              <a:defRPr/>
            </a:lvl1pPr>
            <a:lvl2pPr marL="179388" indent="0">
              <a:buNone/>
              <a:defRPr/>
            </a:lvl2pPr>
            <a:lvl3pPr marL="360363" indent="0">
              <a:buNone/>
              <a:defRPr/>
            </a:lvl3pPr>
            <a:lvl4pPr marL="1371600" indent="0">
              <a:buNone/>
              <a:defRPr/>
            </a:lvl4pPr>
            <a:lvl5pPr marL="1828800" indent="0">
              <a:buNone/>
              <a:defRPr/>
            </a:lvl5pPr>
          </a:lstStyle>
          <a:p>
            <a:pPr lvl="0"/>
            <a:r>
              <a:rPr lang="de-DE"/>
              <a:t>Mastertextformat bearbeiten</a:t>
            </a:r>
          </a:p>
        </p:txBody>
      </p:sp>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16" name="Textplatzhalter 10">
            <a:extLst>
              <a:ext uri="{FF2B5EF4-FFF2-40B4-BE49-F238E27FC236}">
                <a16:creationId xmlns:a16="http://schemas.microsoft.com/office/drawing/2014/main" id="{5FAA4532-2EAE-FDBB-AC53-410D2BBEF4E8}"/>
              </a:ext>
            </a:extLst>
          </p:cNvPr>
          <p:cNvSpPr>
            <a:spLocks noGrp="1"/>
          </p:cNvSpPr>
          <p:nvPr>
            <p:ph type="body" sz="quarter" idx="15"/>
          </p:nvPr>
        </p:nvSpPr>
        <p:spPr>
          <a:xfrm>
            <a:off x="6600826" y="5343525"/>
            <a:ext cx="5003800" cy="1073150"/>
          </a:xfrm>
          <a:prstGeom prst="rect">
            <a:avLst/>
          </a:prstGeom>
        </p:spPr>
        <p:txBody>
          <a:bodyPr/>
          <a:lstStyle>
            <a:lvl1pPr marL="0" indent="0">
              <a:buNone/>
              <a:defRPr/>
            </a:lvl1pPr>
            <a:lvl2pPr marL="179388" indent="0">
              <a:buNone/>
              <a:defRPr/>
            </a:lvl2pPr>
            <a:lvl3pPr marL="360363" indent="0">
              <a:buNone/>
              <a:defRPr/>
            </a:lvl3pPr>
            <a:lvl4pPr marL="1371600" indent="0">
              <a:buNone/>
              <a:defRPr/>
            </a:lvl4pPr>
            <a:lvl5pPr marL="1828800" indent="0">
              <a:buNone/>
              <a:defRPr/>
            </a:lvl5pPr>
          </a:lstStyle>
          <a:p>
            <a:pPr lvl="0"/>
            <a:r>
              <a:rPr lang="de-DE"/>
              <a:t>Mastertextformat bearbeiten</a:t>
            </a:r>
          </a:p>
        </p:txBody>
      </p:sp>
      <p:sp>
        <p:nvSpPr>
          <p:cNvPr id="8" name="Inhaltsplatzhalter 7">
            <a:extLst>
              <a:ext uri="{FF2B5EF4-FFF2-40B4-BE49-F238E27FC236}">
                <a16:creationId xmlns:a16="http://schemas.microsoft.com/office/drawing/2014/main" id="{F48D59F3-8E00-01C2-0C32-E3405A7F4846}"/>
              </a:ext>
            </a:extLst>
          </p:cNvPr>
          <p:cNvSpPr>
            <a:spLocks noGrp="1"/>
          </p:cNvSpPr>
          <p:nvPr>
            <p:ph sz="quarter" idx="16" hasCustomPrompt="1"/>
          </p:nvPr>
        </p:nvSpPr>
        <p:spPr>
          <a:xfrm>
            <a:off x="587375" y="1808163"/>
            <a:ext cx="5003800" cy="3241675"/>
          </a:xfrm>
        </p:spPr>
        <p:txBody>
          <a:bodyPr anchor="ctr"/>
          <a:lstStyle>
            <a:lvl1pPr algn="ctr">
              <a:defRPr>
                <a:latin typeface="+mj-lt"/>
              </a:defRPr>
            </a:lvl1pPr>
          </a:lstStyle>
          <a:p>
            <a:pPr lvl="0"/>
            <a:r>
              <a:rPr lang="de-DE"/>
              <a:t>Grafik/Foto</a:t>
            </a:r>
          </a:p>
        </p:txBody>
      </p:sp>
      <p:sp>
        <p:nvSpPr>
          <p:cNvPr id="10" name="Inhaltsplatzhalter 9">
            <a:extLst>
              <a:ext uri="{FF2B5EF4-FFF2-40B4-BE49-F238E27FC236}">
                <a16:creationId xmlns:a16="http://schemas.microsoft.com/office/drawing/2014/main" id="{26ACB9CA-5E40-17F4-BA79-85976AE042A6}"/>
              </a:ext>
            </a:extLst>
          </p:cNvPr>
          <p:cNvSpPr>
            <a:spLocks noGrp="1"/>
          </p:cNvSpPr>
          <p:nvPr>
            <p:ph sz="quarter" idx="17" hasCustomPrompt="1"/>
          </p:nvPr>
        </p:nvSpPr>
        <p:spPr>
          <a:xfrm>
            <a:off x="6600826" y="1808163"/>
            <a:ext cx="5003799" cy="3241675"/>
          </a:xfrm>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29087601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spaltig_Bild/Grafik">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7F458BA2-2AAD-F097-DCBC-57D02EB5304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095999" y="188913"/>
            <a:ext cx="5903913" cy="6147241"/>
          </a:xfrm>
          <a:prstGeom prst="rect">
            <a:avLst/>
          </a:prstGeom>
        </p:spPr>
      </p:pic>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9FC05561-8A20-402E-B186-1328011E52F3}"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sp>
        <p:nvSpPr>
          <p:cNvPr id="7" name="Inhaltsplatzhalter 7">
            <a:extLst>
              <a:ext uri="{FF2B5EF4-FFF2-40B4-BE49-F238E27FC236}">
                <a16:creationId xmlns:a16="http://schemas.microsoft.com/office/drawing/2014/main" id="{AC40E4DF-20DF-ABDB-6E70-6F1673B0EA82}"/>
              </a:ext>
            </a:extLst>
          </p:cNvPr>
          <p:cNvSpPr>
            <a:spLocks noGrp="1"/>
          </p:cNvSpPr>
          <p:nvPr>
            <p:ph sz="quarter" idx="16" hasCustomPrompt="1"/>
          </p:nvPr>
        </p:nvSpPr>
        <p:spPr>
          <a:xfrm>
            <a:off x="587375" y="1808163"/>
            <a:ext cx="5003800" cy="3241675"/>
          </a:xfrm>
        </p:spPr>
        <p:txBody>
          <a:bodyPr anchor="ctr"/>
          <a:lstStyle>
            <a:lvl1pPr algn="ctr">
              <a:defRPr>
                <a:latin typeface="+mj-lt"/>
              </a:defRPr>
            </a:lvl1pPr>
          </a:lstStyle>
          <a:p>
            <a:pPr lvl="0"/>
            <a:r>
              <a:rPr lang="de-DE"/>
              <a:t>Grafik/Foto</a:t>
            </a:r>
          </a:p>
        </p:txBody>
      </p:sp>
      <p:sp>
        <p:nvSpPr>
          <p:cNvPr id="8" name="Inhaltsplatzhalter 9">
            <a:extLst>
              <a:ext uri="{FF2B5EF4-FFF2-40B4-BE49-F238E27FC236}">
                <a16:creationId xmlns:a16="http://schemas.microsoft.com/office/drawing/2014/main" id="{67C72828-DD50-BCB9-4A9F-77923C1940D2}"/>
              </a:ext>
            </a:extLst>
          </p:cNvPr>
          <p:cNvSpPr>
            <a:spLocks noGrp="1"/>
          </p:cNvSpPr>
          <p:nvPr>
            <p:ph sz="quarter" idx="17" hasCustomPrompt="1"/>
          </p:nvPr>
        </p:nvSpPr>
        <p:spPr>
          <a:xfrm>
            <a:off x="6600826" y="1808163"/>
            <a:ext cx="5003799" cy="3241675"/>
          </a:xfrm>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32143024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folie_dunkel">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2B984B67-FC20-20B7-463F-5306ED6DBE0F}"/>
              </a:ext>
            </a:extLst>
          </p:cNvPr>
          <p:cNvSpPr/>
          <p:nvPr userDrawn="1"/>
        </p:nvSpPr>
        <p:spPr>
          <a:xfrm>
            <a:off x="0" y="0"/>
            <a:ext cx="12192000" cy="685800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bg1"/>
              </a:solidFill>
            </a:endParaRPr>
          </a:p>
        </p:txBody>
      </p:sp>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505404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lvl1pPr>
              <a:defRPr>
                <a:solidFill>
                  <a:schemeClr val="bg1"/>
                </a:solidFill>
              </a:defRPr>
            </a:lvl1pPr>
          </a:lstStyle>
          <a:p>
            <a:r>
              <a:rPr lang="de-DE" noProof="0"/>
              <a:t>Klicke hier um einen Action Title einzufügen.</a:t>
            </a:r>
          </a:p>
        </p:txBody>
      </p:sp>
      <p:cxnSp>
        <p:nvCxnSpPr>
          <p:cNvPr id="11" name="Gerader Verbinder 15">
            <a:extLst>
              <a:ext uri="{FF2B5EF4-FFF2-40B4-BE49-F238E27FC236}">
                <a16:creationId xmlns:a16="http://schemas.microsoft.com/office/drawing/2014/main" id="{E68C9AC1-EA60-B9BC-A365-B318C997DDFC}"/>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9CE69AEF-AB50-D8DE-A0CB-C550A0A9E018}"/>
              </a:ext>
            </a:extLst>
          </p:cNvPr>
          <p:cNvSpPr>
            <a:spLocks noGrp="1"/>
          </p:cNvSpPr>
          <p:nvPr>
            <p:ph type="ftr" sz="quarter" idx="13"/>
          </p:nvPr>
        </p:nvSpPr>
        <p:spPr/>
        <p:txBody>
          <a:bodyPr/>
          <a:lstStyle>
            <a:lvl1pPr>
              <a:defRPr>
                <a:solidFill>
                  <a:schemeClr val="bg1"/>
                </a:solidFill>
              </a:defRPr>
            </a:lvl1pPr>
          </a:lstStyle>
          <a:p>
            <a:r>
              <a:rPr lang="en-GB"/>
              <a:t>byte – </a:t>
            </a:r>
            <a:r>
              <a:rPr lang="en-GB" err="1"/>
              <a:t>Bayerische</a:t>
            </a:r>
            <a:r>
              <a:rPr lang="en-GB"/>
              <a:t> Agentur für </a:t>
            </a:r>
            <a:r>
              <a:rPr lang="en-GB" err="1"/>
              <a:t>Digitales</a:t>
            </a:r>
            <a:endParaRPr lang="en-GB"/>
          </a:p>
        </p:txBody>
      </p:sp>
      <p:sp>
        <p:nvSpPr>
          <p:cNvPr id="7" name="Slide Number Placeholder 6">
            <a:extLst>
              <a:ext uri="{FF2B5EF4-FFF2-40B4-BE49-F238E27FC236}">
                <a16:creationId xmlns:a16="http://schemas.microsoft.com/office/drawing/2014/main" id="{8E18B6C2-6FE9-14EE-CA7A-426690F55A0E}"/>
              </a:ext>
            </a:extLst>
          </p:cNvPr>
          <p:cNvSpPr>
            <a:spLocks noGrp="1"/>
          </p:cNvSpPr>
          <p:nvPr>
            <p:ph type="sldNum" sz="quarter" idx="14"/>
          </p:nvPr>
        </p:nvSpPr>
        <p:spPr/>
        <p:txBody>
          <a:bodyPr/>
          <a:lstStyle>
            <a:lvl1pPr>
              <a:defRPr>
                <a:solidFill>
                  <a:schemeClr val="bg1"/>
                </a:solidFill>
              </a:defRPr>
            </a:lvl1pPr>
          </a:lstStyle>
          <a:p>
            <a:fld id="{0016BBAD-09BD-6243-A9CA-D1F4B193196B}" type="slidenum">
              <a:rPr lang="en-GB" smtClean="0"/>
              <a:pPr/>
              <a:t>‹Nr.›</a:t>
            </a:fld>
            <a:endParaRPr lang="en-GB"/>
          </a:p>
        </p:txBody>
      </p:sp>
      <p:sp>
        <p:nvSpPr>
          <p:cNvPr id="10" name="Text Placeholder 7">
            <a:extLst>
              <a:ext uri="{FF2B5EF4-FFF2-40B4-BE49-F238E27FC236}">
                <a16:creationId xmlns:a16="http://schemas.microsoft.com/office/drawing/2014/main" id="{E0A1565E-A193-D574-0F3D-13EAE1204CC2}"/>
              </a:ext>
            </a:extLst>
          </p:cNvPr>
          <p:cNvSpPr>
            <a:spLocks noGrp="1"/>
          </p:cNvSpPr>
          <p:nvPr>
            <p:ph type="body" sz="quarter" idx="15"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de-DE" noProof="0"/>
              <a:t>Kapitel ➝ Thema</a:t>
            </a:r>
          </a:p>
        </p:txBody>
      </p:sp>
    </p:spTree>
    <p:extLst>
      <p:ext uri="{BB962C8B-B14F-4D97-AF65-F5344CB8AC3E}">
        <p14:creationId xmlns:p14="http://schemas.microsoft.com/office/powerpoint/2010/main" val="2173181145"/>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spaltig_2Bilder_Conten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BCA4C836-32B1-EC0D-022B-CD56056765F9}"/>
              </a:ext>
            </a:extLst>
          </p:cNvPr>
          <p:cNvSpPr>
            <a:spLocks noGrp="1"/>
          </p:cNvSpPr>
          <p:nvPr>
            <p:ph type="dt" sz="half" idx="10"/>
          </p:nvPr>
        </p:nvSpPr>
        <p:spPr/>
        <p:txBody>
          <a:bodyPr/>
          <a:lstStyle/>
          <a:p>
            <a:r>
              <a:rPr lang="de-DE"/>
              <a:t>| </a:t>
            </a:r>
            <a:fld id="{2DD31926-3FC0-4034-A32B-89057550D753}" type="datetime1">
              <a:rPr lang="de-DE" smtClean="0">
                <a:latin typeface="+mn-lt"/>
              </a:rPr>
              <a:t>18.01.24</a:t>
            </a:fld>
            <a:endParaRPr lang="de-DE">
              <a:latin typeface="+mn-lt"/>
            </a:endParaRPr>
          </a:p>
        </p:txBody>
      </p:sp>
      <p:sp>
        <p:nvSpPr>
          <p:cNvPr id="4" name="Foliennummernplatzhalter 3">
            <a:extLst>
              <a:ext uri="{FF2B5EF4-FFF2-40B4-BE49-F238E27FC236}">
                <a16:creationId xmlns:a16="http://schemas.microsoft.com/office/drawing/2014/main" id="{3A625FFA-719A-F51E-FC80-536ABDD136FE}"/>
              </a:ext>
            </a:extLst>
          </p:cNvPr>
          <p:cNvSpPr>
            <a:spLocks noGrp="1"/>
          </p:cNvSpPr>
          <p:nvPr>
            <p:ph type="sldNum" sz="quarter" idx="11"/>
          </p:nvPr>
        </p:nvSpPr>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sp>
        <p:nvSpPr>
          <p:cNvPr id="8" name="Textplatzhalter 7">
            <a:extLst>
              <a:ext uri="{FF2B5EF4-FFF2-40B4-BE49-F238E27FC236}">
                <a16:creationId xmlns:a16="http://schemas.microsoft.com/office/drawing/2014/main" id="{89AE22B5-7AB2-09E4-21D0-F7739B0B817B}"/>
              </a:ext>
            </a:extLst>
          </p:cNvPr>
          <p:cNvSpPr>
            <a:spLocks noGrp="1"/>
          </p:cNvSpPr>
          <p:nvPr>
            <p:ph type="body" sz="quarter" idx="13"/>
          </p:nvPr>
        </p:nvSpPr>
        <p:spPr>
          <a:xfrm>
            <a:off x="6600826" y="1808163"/>
            <a:ext cx="5003800" cy="4608512"/>
          </a:xfrm>
          <a:prstGeom prst="rect">
            <a:avLst/>
          </a:prstGeom>
        </p:spPr>
        <p:txBody>
          <a:bodyPr/>
          <a:lstStyle/>
          <a:p>
            <a:pPr lvl="0"/>
            <a:r>
              <a:rPr lang="de-DE"/>
              <a:t>Mastertextformat bearbeiten</a:t>
            </a:r>
          </a:p>
          <a:p>
            <a:pPr lvl="1"/>
            <a:r>
              <a:rPr lang="de-DE"/>
              <a:t>Zweite Ebene</a:t>
            </a:r>
          </a:p>
          <a:p>
            <a:pPr lvl="2"/>
            <a:r>
              <a:rPr lang="de-DE"/>
              <a:t>Dritte Ebene</a:t>
            </a:r>
          </a:p>
        </p:txBody>
      </p:sp>
      <p:sp>
        <p:nvSpPr>
          <p:cNvPr id="2" name="Titel 1">
            <a:extLst>
              <a:ext uri="{FF2B5EF4-FFF2-40B4-BE49-F238E27FC236}">
                <a16:creationId xmlns:a16="http://schemas.microsoft.com/office/drawing/2014/main" id="{1D8DBFD8-F858-AEBC-40A6-E741BE8C9A4F}"/>
              </a:ext>
            </a:extLst>
          </p:cNvPr>
          <p:cNvSpPr>
            <a:spLocks noGrp="1"/>
          </p:cNvSpPr>
          <p:nvPr>
            <p:ph type="title"/>
          </p:nvPr>
        </p:nvSpPr>
        <p:spPr/>
        <p:txBody>
          <a:bodyPr/>
          <a:lstStyle/>
          <a:p>
            <a:r>
              <a:rPr lang="de-DE"/>
              <a:t>Mastertitelformat bearbeiten</a:t>
            </a:r>
          </a:p>
        </p:txBody>
      </p:sp>
      <p:pic>
        <p:nvPicPr>
          <p:cNvPr id="12" name="Grafik 11">
            <a:extLst>
              <a:ext uri="{FF2B5EF4-FFF2-40B4-BE49-F238E27FC236}">
                <a16:creationId xmlns:a16="http://schemas.microsoft.com/office/drawing/2014/main" id="{75D91127-09D6-6ADC-EBAB-899977FA5B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67451" y="3790193"/>
            <a:ext cx="1485900" cy="2472230"/>
          </a:xfrm>
          <a:prstGeom prst="rect">
            <a:avLst/>
          </a:prstGeom>
        </p:spPr>
      </p:pic>
      <p:sp>
        <p:nvSpPr>
          <p:cNvPr id="7" name="Inhaltsplatzhalter 6">
            <a:extLst>
              <a:ext uri="{FF2B5EF4-FFF2-40B4-BE49-F238E27FC236}">
                <a16:creationId xmlns:a16="http://schemas.microsoft.com/office/drawing/2014/main" id="{D77F04A2-B05F-EDF4-89A8-51EC1F76C978}"/>
              </a:ext>
            </a:extLst>
          </p:cNvPr>
          <p:cNvSpPr>
            <a:spLocks noGrp="1"/>
          </p:cNvSpPr>
          <p:nvPr>
            <p:ph sz="quarter" idx="15" hasCustomPrompt="1"/>
          </p:nvPr>
        </p:nvSpPr>
        <p:spPr>
          <a:xfrm>
            <a:off x="587375" y="1808164"/>
            <a:ext cx="5437188" cy="4059236"/>
          </a:xfrm>
        </p:spPr>
        <p:txBody>
          <a:bodyPr anchor="ctr"/>
          <a:lstStyle>
            <a:lvl1pPr algn="ctr">
              <a:defRPr>
                <a:latin typeface="+mj-lt"/>
              </a:defRPr>
            </a:lvl1pPr>
          </a:lstStyle>
          <a:p>
            <a:pPr lvl="0"/>
            <a:r>
              <a:rPr lang="de-DE"/>
              <a:t>Grafik/Foto</a:t>
            </a:r>
          </a:p>
        </p:txBody>
      </p:sp>
      <p:sp>
        <p:nvSpPr>
          <p:cNvPr id="11" name="Inhaltsplatzhalter 10">
            <a:extLst>
              <a:ext uri="{FF2B5EF4-FFF2-40B4-BE49-F238E27FC236}">
                <a16:creationId xmlns:a16="http://schemas.microsoft.com/office/drawing/2014/main" id="{783EA90E-FC3F-1837-09A2-E3632B969C87}"/>
              </a:ext>
            </a:extLst>
          </p:cNvPr>
          <p:cNvSpPr>
            <a:spLocks noGrp="1"/>
          </p:cNvSpPr>
          <p:nvPr>
            <p:ph sz="quarter" idx="16" hasCustomPrompt="1"/>
          </p:nvPr>
        </p:nvSpPr>
        <p:spPr>
          <a:xfrm>
            <a:off x="8582025" y="3848100"/>
            <a:ext cx="3022599" cy="2247900"/>
          </a:xfrm>
        </p:spPr>
        <p:txBody>
          <a:bodyPr anchor="ctr"/>
          <a:lstStyle>
            <a:lvl1pPr algn="ctr">
              <a:defRPr>
                <a:latin typeface="+mj-lt"/>
              </a:defRPr>
            </a:lvl1pPr>
          </a:lstStyle>
          <a:p>
            <a:pPr lvl="0"/>
            <a:r>
              <a:rPr lang="de-DE"/>
              <a:t>Grafik/Foto</a:t>
            </a:r>
          </a:p>
        </p:txBody>
      </p:sp>
    </p:spTree>
    <p:extLst>
      <p:ext uri="{BB962C8B-B14F-4D97-AF65-F5344CB8AC3E}">
        <p14:creationId xmlns:p14="http://schemas.microsoft.com/office/powerpoint/2010/main" val="19517097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chlussfolie_dunke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C716BE7A-A5F5-C3F0-7C38-1866554B0342}"/>
              </a:ext>
            </a:extLst>
          </p:cNvPr>
          <p:cNvSpPr/>
          <p:nvPr userDrawn="1"/>
        </p:nvSpPr>
        <p:spPr>
          <a:xfrm>
            <a:off x="0" y="0"/>
            <a:ext cx="12192000" cy="5155660"/>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4" name="Datumsplatzhalter 3">
            <a:extLst>
              <a:ext uri="{FF2B5EF4-FFF2-40B4-BE49-F238E27FC236}">
                <a16:creationId xmlns:a16="http://schemas.microsoft.com/office/drawing/2014/main" id="{5B2E855C-148D-336D-9F69-3806F351A11B}"/>
              </a:ext>
            </a:extLst>
          </p:cNvPr>
          <p:cNvSpPr>
            <a:spLocks noGrp="1"/>
          </p:cNvSpPr>
          <p:nvPr>
            <p:ph type="dt" sz="half" idx="10"/>
          </p:nvPr>
        </p:nvSpPr>
        <p:spPr/>
        <p:txBody>
          <a:bodyPr/>
          <a:lstStyle/>
          <a:p>
            <a:r>
              <a:rPr lang="de-DE"/>
              <a:t>| </a:t>
            </a:r>
            <a:fld id="{B10E1E15-880C-4B9D-8A1B-D96383467A83}" type="datetime1">
              <a:rPr lang="de-DE" smtClean="0"/>
              <a:t>18.01.24</a:t>
            </a:fld>
            <a:endParaRPr lang="de-DE"/>
          </a:p>
        </p:txBody>
      </p:sp>
      <p:sp>
        <p:nvSpPr>
          <p:cNvPr id="7" name="Textfeld 6">
            <a:extLst>
              <a:ext uri="{FF2B5EF4-FFF2-40B4-BE49-F238E27FC236}">
                <a16:creationId xmlns:a16="http://schemas.microsoft.com/office/drawing/2014/main" id="{E64A5574-388D-AEB3-8658-DF7E4F8CA354}"/>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latin typeface="+mj-lt"/>
              </a:rPr>
              <a:t>byte</a:t>
            </a:r>
            <a:r>
              <a:rPr lang="de-DE" sz="800">
                <a:latin typeface="+mn-lt"/>
              </a:rPr>
              <a:t> – Bayerische Agentur für Digitales</a:t>
            </a:r>
          </a:p>
        </p:txBody>
      </p:sp>
      <p:sp>
        <p:nvSpPr>
          <p:cNvPr id="12" name="Textfeld 11">
            <a:extLst>
              <a:ext uri="{FF2B5EF4-FFF2-40B4-BE49-F238E27FC236}">
                <a16:creationId xmlns:a16="http://schemas.microsoft.com/office/drawing/2014/main" id="{ADBC390A-3C69-C377-6367-44DA1A2F0C0F}"/>
              </a:ext>
            </a:extLst>
          </p:cNvPr>
          <p:cNvSpPr txBox="1">
            <a:spLocks/>
          </p:cNvSpPr>
          <p:nvPr userDrawn="1"/>
        </p:nvSpPr>
        <p:spPr>
          <a:xfrm>
            <a:off x="587375" y="5930091"/>
            <a:ext cx="1928812" cy="246221"/>
          </a:xfrm>
          <a:prstGeom prst="rect">
            <a:avLst/>
          </a:prstGeom>
          <a:noFill/>
        </p:spPr>
        <p:txBody>
          <a:bodyPr wrap="square" lIns="0" tIns="0" rIns="0" bIns="0" rtlCol="0">
            <a:spAutoFit/>
          </a:bodyPr>
          <a:lstStyle/>
          <a:p>
            <a:r>
              <a:rPr lang="de-DE" sz="1600" err="1">
                <a:latin typeface="+mj-lt"/>
              </a:rPr>
              <a:t>byte.bayern</a:t>
            </a:r>
            <a:endParaRPr lang="de-DE" sz="1600">
              <a:latin typeface="+mj-lt"/>
            </a:endParaRPr>
          </a:p>
        </p:txBody>
      </p:sp>
      <p:cxnSp>
        <p:nvCxnSpPr>
          <p:cNvPr id="14" name="Gerader Verbinder 13">
            <a:extLst>
              <a:ext uri="{FF2B5EF4-FFF2-40B4-BE49-F238E27FC236}">
                <a16:creationId xmlns:a16="http://schemas.microsoft.com/office/drawing/2014/main" id="{C1C5AE54-951F-6266-B315-8D3BB7762EC0}"/>
              </a:ext>
            </a:extLst>
          </p:cNvPr>
          <p:cNvCxnSpPr>
            <a:cxnSpLocks/>
          </p:cNvCxnSpPr>
          <p:nvPr userDrawn="1"/>
        </p:nvCxnSpPr>
        <p:spPr>
          <a:xfrm>
            <a:off x="599280" y="6208496"/>
            <a:ext cx="116522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platzhalter 4">
            <a:extLst>
              <a:ext uri="{FF2B5EF4-FFF2-40B4-BE49-F238E27FC236}">
                <a16:creationId xmlns:a16="http://schemas.microsoft.com/office/drawing/2014/main" id="{2BF79696-5DBD-CFB7-8692-5166E8CE44D6}"/>
              </a:ext>
            </a:extLst>
          </p:cNvPr>
          <p:cNvSpPr>
            <a:spLocks noGrp="1"/>
          </p:cNvSpPr>
          <p:nvPr>
            <p:ph type="body" sz="quarter" idx="11"/>
          </p:nvPr>
        </p:nvSpPr>
        <p:spPr>
          <a:xfrm>
            <a:off x="587375" y="438150"/>
            <a:ext cx="5437188" cy="738664"/>
          </a:xfrm>
          <a:prstGeom prst="rect">
            <a:avLst/>
          </a:prstGeom>
        </p:spPr>
        <p:txBody>
          <a:bodyPr>
            <a:noAutofit/>
          </a:bodyPr>
          <a:lstStyle>
            <a:lvl1pPr marL="0" indent="0">
              <a:buNone/>
              <a:defRPr sz="4800">
                <a:solidFill>
                  <a:schemeClr val="bg1"/>
                </a:solidFill>
                <a:latin typeface="+mj-lt"/>
              </a:defRPr>
            </a:lvl1pPr>
          </a:lstStyle>
          <a:p>
            <a:pPr lvl="0"/>
            <a:endParaRPr lang="de-DE"/>
          </a:p>
        </p:txBody>
      </p:sp>
      <p:sp>
        <p:nvSpPr>
          <p:cNvPr id="15" name="Textfeld 14">
            <a:extLst>
              <a:ext uri="{FF2B5EF4-FFF2-40B4-BE49-F238E27FC236}">
                <a16:creationId xmlns:a16="http://schemas.microsoft.com/office/drawing/2014/main" id="{5775BD5D-B471-D8FD-C92F-25667B81C956}"/>
              </a:ext>
            </a:extLst>
          </p:cNvPr>
          <p:cNvSpPr txBox="1"/>
          <p:nvPr userDrawn="1"/>
        </p:nvSpPr>
        <p:spPr>
          <a:xfrm>
            <a:off x="587375" y="1808164"/>
            <a:ext cx="3521075" cy="2580835"/>
          </a:xfrm>
          <a:prstGeom prst="rect">
            <a:avLst/>
          </a:prstGeom>
          <a:noFill/>
        </p:spPr>
        <p:txBody>
          <a:bodyPr wrap="square" lIns="0" tIns="0" rIns="0" bIns="0" rtlCol="0">
            <a:spAutoFit/>
          </a:bodyPr>
          <a:lstStyle/>
          <a:p>
            <a:pPr>
              <a:lnSpc>
                <a:spcPct val="135000"/>
              </a:lnSpc>
            </a:pPr>
            <a:r>
              <a:rPr lang="de-DE" sz="1200" err="1">
                <a:solidFill>
                  <a:schemeClr val="bg1"/>
                </a:solidFill>
                <a:latin typeface="+mj-lt"/>
              </a:rPr>
              <a:t>byte</a:t>
            </a:r>
            <a:r>
              <a:rPr lang="de-DE" sz="1200">
                <a:solidFill>
                  <a:schemeClr val="bg1"/>
                </a:solidFill>
                <a:latin typeface="+mj-lt"/>
              </a:rPr>
              <a:t> – Bayerische Agentur für Digitales GmbH</a:t>
            </a:r>
          </a:p>
          <a:p>
            <a:pPr>
              <a:lnSpc>
                <a:spcPct val="135000"/>
              </a:lnSpc>
            </a:pPr>
            <a:r>
              <a:rPr lang="de-DE" sz="1200">
                <a:solidFill>
                  <a:schemeClr val="bg1"/>
                </a:solidFill>
              </a:rPr>
              <a:t>Oskar-von-Miller-Ring 35</a:t>
            </a:r>
          </a:p>
          <a:p>
            <a:pPr>
              <a:lnSpc>
                <a:spcPct val="135000"/>
              </a:lnSpc>
              <a:spcAft>
                <a:spcPts val="2200"/>
              </a:spcAft>
            </a:pPr>
            <a:r>
              <a:rPr lang="de-DE" sz="1200">
                <a:solidFill>
                  <a:schemeClr val="bg1"/>
                </a:solidFill>
              </a:rPr>
              <a:t>D-80333 München</a:t>
            </a:r>
          </a:p>
          <a:p>
            <a:pPr>
              <a:lnSpc>
                <a:spcPct val="135000"/>
              </a:lnSpc>
            </a:pPr>
            <a:r>
              <a:rPr lang="de-DE" sz="1200">
                <a:solidFill>
                  <a:schemeClr val="bg1"/>
                </a:solidFill>
                <a:latin typeface="+mj-lt"/>
              </a:rPr>
              <a:t>Registergericht</a:t>
            </a:r>
          </a:p>
          <a:p>
            <a:pPr>
              <a:lnSpc>
                <a:spcPct val="135000"/>
              </a:lnSpc>
            </a:pPr>
            <a:r>
              <a:rPr lang="de-DE" sz="1200">
                <a:solidFill>
                  <a:schemeClr val="bg1"/>
                </a:solidFill>
              </a:rPr>
              <a:t>Amtsgericht München, HRB 273196</a:t>
            </a:r>
          </a:p>
          <a:p>
            <a:pPr>
              <a:lnSpc>
                <a:spcPct val="135000"/>
              </a:lnSpc>
            </a:pPr>
            <a:r>
              <a:rPr lang="de-DE" sz="1200">
                <a:solidFill>
                  <a:schemeClr val="bg1"/>
                </a:solidFill>
                <a:latin typeface="+mj-lt"/>
              </a:rPr>
              <a:t>Geschäftsführung</a:t>
            </a:r>
            <a:r>
              <a:rPr lang="de-DE" sz="1200">
                <a:solidFill>
                  <a:schemeClr val="bg1"/>
                </a:solidFill>
              </a:rPr>
              <a:t> </a:t>
            </a:r>
          </a:p>
          <a:p>
            <a:pPr>
              <a:lnSpc>
                <a:spcPct val="135000"/>
              </a:lnSpc>
            </a:pPr>
            <a:r>
              <a:rPr lang="de-DE" sz="1200">
                <a:solidFill>
                  <a:schemeClr val="bg1"/>
                </a:solidFill>
              </a:rPr>
              <a:t>Antonia Zierer, Thorsten Kühnel</a:t>
            </a:r>
          </a:p>
          <a:p>
            <a:pPr>
              <a:lnSpc>
                <a:spcPct val="135000"/>
              </a:lnSpc>
            </a:pPr>
            <a:r>
              <a:rPr lang="de-DE" sz="1200">
                <a:solidFill>
                  <a:schemeClr val="bg1"/>
                </a:solidFill>
                <a:latin typeface="+mj-lt"/>
              </a:rPr>
              <a:t>Postanschrift</a:t>
            </a:r>
          </a:p>
          <a:p>
            <a:pPr>
              <a:lnSpc>
                <a:spcPct val="135000"/>
              </a:lnSpc>
            </a:pPr>
            <a:r>
              <a:rPr lang="de-DE" sz="1200">
                <a:solidFill>
                  <a:schemeClr val="bg1"/>
                </a:solidFill>
              </a:rPr>
              <a:t>Orleanstraße 24, 81669 München</a:t>
            </a:r>
          </a:p>
        </p:txBody>
      </p:sp>
      <p:sp>
        <p:nvSpPr>
          <p:cNvPr id="16" name="Foliennummernplatzhalter 3">
            <a:extLst>
              <a:ext uri="{FF2B5EF4-FFF2-40B4-BE49-F238E27FC236}">
                <a16:creationId xmlns:a16="http://schemas.microsoft.com/office/drawing/2014/main" id="{E89DCB2F-234C-0531-3EFE-73CA9AFA5C94}"/>
              </a:ext>
            </a:extLst>
          </p:cNvPr>
          <p:cNvSpPr>
            <a:spLocks noGrp="1"/>
          </p:cNvSpPr>
          <p:nvPr>
            <p:ph type="sldNum" sz="quarter" idx="12"/>
          </p:nvPr>
        </p:nvSpPr>
        <p:spPr>
          <a:xfrm>
            <a:off x="11151393" y="6573838"/>
            <a:ext cx="848519" cy="123111"/>
          </a:xfrm>
        </p:spPr>
        <p:txBody>
          <a:bodyPr/>
          <a:lstStyle>
            <a:lvl1pPr>
              <a:defRPr>
                <a:solidFill>
                  <a:schemeClr val="tx1"/>
                </a:solidFill>
              </a:defRPr>
            </a:lvl1pPr>
          </a:lstStyle>
          <a:p>
            <a:r>
              <a:rPr lang="de-DE"/>
              <a:t>Seite </a:t>
            </a:r>
            <a:fld id="{F3829FEA-ED73-4A5A-98B4-E51078EAB7AC}" type="slidenum">
              <a:rPr lang="de-DE" smtClean="0">
                <a:latin typeface="+mj-lt"/>
              </a:rPr>
              <a:pPr/>
              <a:t>‹Nr.›</a:t>
            </a:fld>
            <a:endParaRPr lang="de-DE">
              <a:latin typeface="+mj-lt"/>
            </a:endParaRPr>
          </a:p>
        </p:txBody>
      </p:sp>
      <p:pic>
        <p:nvPicPr>
          <p:cNvPr id="6" name="Grafik 5">
            <a:extLst>
              <a:ext uri="{FF2B5EF4-FFF2-40B4-BE49-F238E27FC236}">
                <a16:creationId xmlns:a16="http://schemas.microsoft.com/office/drawing/2014/main" id="{F89E7D01-1C6B-E128-58A7-D67E64756A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155112" y="195211"/>
            <a:ext cx="5822379" cy="6062346"/>
          </a:xfrm>
          <a:prstGeom prst="rect">
            <a:avLst/>
          </a:prstGeom>
        </p:spPr>
      </p:pic>
      <p:grpSp>
        <p:nvGrpSpPr>
          <p:cNvPr id="8" name="Gruppieren 7">
            <a:extLst>
              <a:ext uri="{FF2B5EF4-FFF2-40B4-BE49-F238E27FC236}">
                <a16:creationId xmlns:a16="http://schemas.microsoft.com/office/drawing/2014/main" id="{1CE2B2B8-1FD6-AF15-927B-9E9272370A47}"/>
              </a:ext>
            </a:extLst>
          </p:cNvPr>
          <p:cNvGrpSpPr/>
          <p:nvPr userDrawn="1"/>
        </p:nvGrpSpPr>
        <p:grpSpPr>
          <a:xfrm>
            <a:off x="11115518" y="188913"/>
            <a:ext cx="884395" cy="1075002"/>
            <a:chOff x="12265626" y="195630"/>
            <a:chExt cx="884395" cy="1075002"/>
          </a:xfrm>
        </p:grpSpPr>
        <p:sp>
          <p:nvSpPr>
            <p:cNvPr id="9" name="Freihandform: Form 8">
              <a:extLst>
                <a:ext uri="{FF2B5EF4-FFF2-40B4-BE49-F238E27FC236}">
                  <a16:creationId xmlns:a16="http://schemas.microsoft.com/office/drawing/2014/main" id="{75138617-236C-37BC-A7DE-DD51D674D76D}"/>
                </a:ext>
              </a:extLst>
            </p:cNvPr>
            <p:cNvSpPr/>
            <p:nvPr/>
          </p:nvSpPr>
          <p:spPr>
            <a:xfrm>
              <a:off x="12265626" y="195630"/>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A6AD8E9E-AB6C-EAB9-F839-01A632FF8529}"/>
                </a:ext>
              </a:extLst>
            </p:cNvPr>
            <p:cNvSpPr/>
            <p:nvPr/>
          </p:nvSpPr>
          <p:spPr>
            <a:xfrm>
              <a:off x="12793204"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7E910813-DEBC-6251-8D16-88CDF063F789}"/>
                </a:ext>
              </a:extLst>
            </p:cNvPr>
            <p:cNvSpPr/>
            <p:nvPr/>
          </p:nvSpPr>
          <p:spPr>
            <a:xfrm>
              <a:off x="12910626" y="546759"/>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807CEF56-54D9-F5F3-96AB-90F66BDFE6CF}"/>
                </a:ext>
              </a:extLst>
            </p:cNvPr>
            <p:cNvSpPr/>
            <p:nvPr/>
          </p:nvSpPr>
          <p:spPr>
            <a:xfrm>
              <a:off x="12675908" y="42946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C2C5ED27-0465-0240-667B-AF96E63A5781}"/>
                </a:ext>
              </a:extLst>
            </p:cNvPr>
            <p:cNvSpPr/>
            <p:nvPr/>
          </p:nvSpPr>
          <p:spPr>
            <a:xfrm>
              <a:off x="12675908"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a:p>
          </p:txBody>
        </p:sp>
        <p:grpSp>
          <p:nvGrpSpPr>
            <p:cNvPr id="18" name="Gruppieren 17">
              <a:extLst>
                <a:ext uri="{FF2B5EF4-FFF2-40B4-BE49-F238E27FC236}">
                  <a16:creationId xmlns:a16="http://schemas.microsoft.com/office/drawing/2014/main" id="{292A7DE9-5422-4C87-A43D-D09E9041247E}"/>
                </a:ext>
              </a:extLst>
            </p:cNvPr>
            <p:cNvGrpSpPr/>
            <p:nvPr userDrawn="1"/>
          </p:nvGrpSpPr>
          <p:grpSpPr>
            <a:xfrm>
              <a:off x="12266005" y="1135893"/>
              <a:ext cx="883889" cy="134739"/>
              <a:chOff x="12266005" y="1135893"/>
              <a:chExt cx="883889" cy="134739"/>
            </a:xfrm>
            <a:solidFill>
              <a:schemeClr val="bg1"/>
            </a:solidFill>
          </p:grpSpPr>
          <p:sp>
            <p:nvSpPr>
              <p:cNvPr id="26" name="Freihandform: Form 25">
                <a:extLst>
                  <a:ext uri="{FF2B5EF4-FFF2-40B4-BE49-F238E27FC236}">
                    <a16:creationId xmlns:a16="http://schemas.microsoft.com/office/drawing/2014/main" id="{4914E9E1-2DCC-F91A-61B2-CE62DFEB7B1E}"/>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4CE007E3-07E5-AA2F-D527-BBEEF156E961}"/>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5C6038A5-1AFA-BD88-118A-D339D1D29E0D}"/>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D986DA42-B538-9AAC-BE30-D5E0805F768C}"/>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0" name="Freihandform: Form 29">
                <a:extLst>
                  <a:ext uri="{FF2B5EF4-FFF2-40B4-BE49-F238E27FC236}">
                    <a16:creationId xmlns:a16="http://schemas.microsoft.com/office/drawing/2014/main" id="{FFB26A3C-24C5-92E3-B4FB-099C746EE41F}"/>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F1288944-4AF5-A88A-A53D-2BBC19D34816}"/>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79EA506E-F18B-5476-EA49-2BE9F2D5EF89}"/>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F6F22B2D-B76B-86AA-7B31-A159450314F2}"/>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AA74BD57-ECEB-872F-61BB-EA15D856F8CD}"/>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212E2DB3-5076-3ECC-8C62-D2DA849B516D}"/>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85C4EDAF-5C3B-3C32-6494-AB4644F47F7F}"/>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a:p>
            </p:txBody>
          </p:sp>
          <p:sp>
            <p:nvSpPr>
              <p:cNvPr id="37" name="Freihandform: Form 36">
                <a:extLst>
                  <a:ext uri="{FF2B5EF4-FFF2-40B4-BE49-F238E27FC236}">
                    <a16:creationId xmlns:a16="http://schemas.microsoft.com/office/drawing/2014/main" id="{6D579B95-578A-4EF6-B58A-45241ABE45CA}"/>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a:p>
            </p:txBody>
          </p:sp>
          <p:sp>
            <p:nvSpPr>
              <p:cNvPr id="38" name="Freihandform: Form 37">
                <a:extLst>
                  <a:ext uri="{FF2B5EF4-FFF2-40B4-BE49-F238E27FC236}">
                    <a16:creationId xmlns:a16="http://schemas.microsoft.com/office/drawing/2014/main" id="{E0849869-BD40-A5BC-BBBE-850681D9C6B1}"/>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a:p>
            </p:txBody>
          </p:sp>
          <p:sp>
            <p:nvSpPr>
              <p:cNvPr id="39" name="Freihandform: Form 38">
                <a:extLst>
                  <a:ext uri="{FF2B5EF4-FFF2-40B4-BE49-F238E27FC236}">
                    <a16:creationId xmlns:a16="http://schemas.microsoft.com/office/drawing/2014/main" id="{332F31CA-E599-1D83-FB1D-86B7D471CC40}"/>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a:p>
            </p:txBody>
          </p:sp>
          <p:sp>
            <p:nvSpPr>
              <p:cNvPr id="40" name="Freihandform: Form 39">
                <a:extLst>
                  <a:ext uri="{FF2B5EF4-FFF2-40B4-BE49-F238E27FC236}">
                    <a16:creationId xmlns:a16="http://schemas.microsoft.com/office/drawing/2014/main" id="{C35D7E2B-49B8-E793-51B6-B489E9FF661E}"/>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4464D655-2534-A526-124F-14D815CFFFCD}"/>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1F6A1BFB-7948-8185-DA2B-43C4C85EE35F}"/>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8B230C65-B02B-DB4F-2781-3A9C61B3DEB1}"/>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4CF669A1-A800-E651-A452-4B9C4EF9C58D}"/>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387F01A9-E2EF-CB7D-D45E-88EBD88A241D}"/>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26BC08EC-428B-853A-9601-790AEF153318}"/>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174B6975-CF1A-4665-1AB4-E6A22E11C0FA}"/>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AA313057-CE1E-8358-04C6-A30A11BFAA48}"/>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88D4EC39-B539-211E-7F86-13171525E02B}"/>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E518EEEC-BB16-876A-9FD5-E8F74C3B9C30}"/>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6EDBE00A-3B33-3272-E540-9D48F07AEF28}"/>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C6C5EC54-08BB-0800-1626-A1D2B764C7F0}"/>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8AE1DEBD-A56C-9038-2AAF-1F36DEDC1557}"/>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4F19BA9E-A288-0B5B-8147-04BE5F57C921}"/>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a:p>
            </p:txBody>
          </p:sp>
        </p:grpSp>
        <p:sp>
          <p:nvSpPr>
            <p:cNvPr id="19" name="Freihandform: Form 18">
              <a:extLst>
                <a:ext uri="{FF2B5EF4-FFF2-40B4-BE49-F238E27FC236}">
                  <a16:creationId xmlns:a16="http://schemas.microsoft.com/office/drawing/2014/main" id="{77773881-BD58-EF74-2CD9-764AF1C23FC2}"/>
                </a:ext>
              </a:extLst>
            </p:cNvPr>
            <p:cNvSpPr/>
            <p:nvPr/>
          </p:nvSpPr>
          <p:spPr>
            <a:xfrm>
              <a:off x="12334891" y="759990"/>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B32B14D7-DC05-A7D6-8455-A022967F7188}"/>
                </a:ext>
              </a:extLst>
            </p:cNvPr>
            <p:cNvSpPr/>
            <p:nvPr/>
          </p:nvSpPr>
          <p:spPr>
            <a:xfrm>
              <a:off x="12553430" y="808779"/>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BEFE53BF-A86C-5341-AB16-86AF25BE4119}"/>
                </a:ext>
              </a:extLst>
            </p:cNvPr>
            <p:cNvSpPr/>
            <p:nvPr/>
          </p:nvSpPr>
          <p:spPr>
            <a:xfrm>
              <a:off x="12773234" y="761759"/>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23F17086-ECFB-8E3D-C23B-0A97BC9066F6}"/>
                </a:ext>
              </a:extLst>
            </p:cNvPr>
            <p:cNvSpPr/>
            <p:nvPr/>
          </p:nvSpPr>
          <p:spPr>
            <a:xfrm>
              <a:off x="12930218" y="808273"/>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DCD7CF46-4A6C-A367-1C52-8D36BC47D594}"/>
                </a:ext>
              </a:extLst>
            </p:cNvPr>
            <p:cNvSpPr/>
            <p:nvPr/>
          </p:nvSpPr>
          <p:spPr>
            <a:xfrm>
              <a:off x="12910626" y="312925"/>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AA2B3037-53CF-F9E4-D09A-8D327F20B29F}"/>
                </a:ext>
              </a:extLst>
            </p:cNvPr>
            <p:cNvSpPr/>
            <p:nvPr/>
          </p:nvSpPr>
          <p:spPr>
            <a:xfrm>
              <a:off x="12910626" y="195630"/>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a:p>
          </p:txBody>
        </p:sp>
      </p:grpSp>
      <p:pic>
        <p:nvPicPr>
          <p:cNvPr id="3" name="Grafik 2">
            <a:extLst>
              <a:ext uri="{FF2B5EF4-FFF2-40B4-BE49-F238E27FC236}">
                <a16:creationId xmlns:a16="http://schemas.microsoft.com/office/drawing/2014/main" id="{E4BFEE32-1B35-3E6B-2184-57ABE9B9D8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0681" y="4692948"/>
            <a:ext cx="8836170" cy="893066"/>
          </a:xfrm>
          <a:prstGeom prst="rect">
            <a:avLst/>
          </a:prstGeom>
        </p:spPr>
      </p:pic>
    </p:spTree>
    <p:extLst>
      <p:ext uri="{BB962C8B-B14F-4D97-AF65-F5344CB8AC3E}">
        <p14:creationId xmlns:p14="http://schemas.microsoft.com/office/powerpoint/2010/main" val="18205487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chlussfolie_hell">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76EF873-0EEB-106C-3951-16F47196311D}"/>
              </a:ext>
            </a:extLst>
          </p:cNvPr>
          <p:cNvSpPr/>
          <p:nvPr userDrawn="1"/>
        </p:nvSpPr>
        <p:spPr>
          <a:xfrm>
            <a:off x="0" y="5136204"/>
            <a:ext cx="12192000" cy="1721796"/>
          </a:xfrm>
          <a:prstGeom prst="rect">
            <a:avLst/>
          </a:prstGeom>
          <a:gradFill>
            <a:gsLst>
              <a:gs pos="0">
                <a:srgbClr val="015E87"/>
              </a:gs>
              <a:gs pos="55000">
                <a:srgbClr val="000000"/>
              </a:gs>
              <a:gs pos="99000">
                <a:srgbClr val="0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pic>
        <p:nvPicPr>
          <p:cNvPr id="3" name="Grafik 2">
            <a:extLst>
              <a:ext uri="{FF2B5EF4-FFF2-40B4-BE49-F238E27FC236}">
                <a16:creationId xmlns:a16="http://schemas.microsoft.com/office/drawing/2014/main" id="{FB4EC5C9-8ED3-A699-6C88-4F341D420D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0681" y="4692948"/>
            <a:ext cx="8836170" cy="893066"/>
          </a:xfrm>
          <a:prstGeom prst="rect">
            <a:avLst/>
          </a:prstGeom>
        </p:spPr>
      </p:pic>
      <p:sp>
        <p:nvSpPr>
          <p:cNvPr id="4" name="Datumsplatzhalter 3">
            <a:extLst>
              <a:ext uri="{FF2B5EF4-FFF2-40B4-BE49-F238E27FC236}">
                <a16:creationId xmlns:a16="http://schemas.microsoft.com/office/drawing/2014/main" id="{5B2E855C-148D-336D-9F69-3806F351A11B}"/>
              </a:ext>
            </a:extLst>
          </p:cNvPr>
          <p:cNvSpPr>
            <a:spLocks noGrp="1"/>
          </p:cNvSpPr>
          <p:nvPr>
            <p:ph type="dt" sz="half" idx="10"/>
          </p:nvPr>
        </p:nvSpPr>
        <p:spPr/>
        <p:txBody>
          <a:bodyPr/>
          <a:lstStyle>
            <a:lvl1pPr>
              <a:defRPr>
                <a:solidFill>
                  <a:schemeClr val="bg1"/>
                </a:solidFill>
              </a:defRPr>
            </a:lvl1pPr>
          </a:lstStyle>
          <a:p>
            <a:r>
              <a:rPr lang="de-DE"/>
              <a:t>| </a:t>
            </a:r>
            <a:fld id="{CA490B9A-3B2D-4673-84C1-B244A02FAF5F}" type="datetime1">
              <a:rPr lang="de-DE" smtClean="0"/>
              <a:t>18.01.24</a:t>
            </a:fld>
            <a:endParaRPr lang="de-DE"/>
          </a:p>
        </p:txBody>
      </p:sp>
      <p:sp>
        <p:nvSpPr>
          <p:cNvPr id="7" name="Textfeld 6">
            <a:extLst>
              <a:ext uri="{FF2B5EF4-FFF2-40B4-BE49-F238E27FC236}">
                <a16:creationId xmlns:a16="http://schemas.microsoft.com/office/drawing/2014/main" id="{E64A5574-388D-AEB3-8658-DF7E4F8CA354}"/>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solidFill>
                  <a:schemeClr val="bg1"/>
                </a:solidFill>
                <a:latin typeface="+mj-lt"/>
              </a:rPr>
              <a:t>byte</a:t>
            </a:r>
            <a:r>
              <a:rPr lang="de-DE" sz="800">
                <a:solidFill>
                  <a:schemeClr val="bg1"/>
                </a:solidFill>
                <a:latin typeface="+mn-lt"/>
              </a:rPr>
              <a:t> – Bayerische Agentur für Digitales</a:t>
            </a:r>
          </a:p>
        </p:txBody>
      </p:sp>
      <p:sp>
        <p:nvSpPr>
          <p:cNvPr id="12" name="Textfeld 11">
            <a:extLst>
              <a:ext uri="{FF2B5EF4-FFF2-40B4-BE49-F238E27FC236}">
                <a16:creationId xmlns:a16="http://schemas.microsoft.com/office/drawing/2014/main" id="{ADBC390A-3C69-C377-6367-44DA1A2F0C0F}"/>
              </a:ext>
            </a:extLst>
          </p:cNvPr>
          <p:cNvSpPr txBox="1">
            <a:spLocks/>
          </p:cNvSpPr>
          <p:nvPr userDrawn="1"/>
        </p:nvSpPr>
        <p:spPr>
          <a:xfrm>
            <a:off x="587375" y="5930091"/>
            <a:ext cx="1928812" cy="246221"/>
          </a:xfrm>
          <a:prstGeom prst="rect">
            <a:avLst/>
          </a:prstGeom>
          <a:noFill/>
        </p:spPr>
        <p:txBody>
          <a:bodyPr wrap="square" lIns="0" tIns="0" rIns="0" bIns="0" rtlCol="0">
            <a:spAutoFit/>
          </a:bodyPr>
          <a:lstStyle/>
          <a:p>
            <a:r>
              <a:rPr lang="de-DE" sz="1600" err="1">
                <a:solidFill>
                  <a:schemeClr val="bg1"/>
                </a:solidFill>
                <a:latin typeface="+mj-lt"/>
              </a:rPr>
              <a:t>byte.bayern</a:t>
            </a:r>
            <a:endParaRPr lang="de-DE" sz="1600">
              <a:solidFill>
                <a:schemeClr val="bg1"/>
              </a:solidFill>
              <a:latin typeface="+mj-lt"/>
            </a:endParaRPr>
          </a:p>
        </p:txBody>
      </p:sp>
      <p:cxnSp>
        <p:nvCxnSpPr>
          <p:cNvPr id="14" name="Gerader Verbinder 13">
            <a:extLst>
              <a:ext uri="{FF2B5EF4-FFF2-40B4-BE49-F238E27FC236}">
                <a16:creationId xmlns:a16="http://schemas.microsoft.com/office/drawing/2014/main" id="{C1C5AE54-951F-6266-B315-8D3BB7762EC0}"/>
              </a:ext>
            </a:extLst>
          </p:cNvPr>
          <p:cNvCxnSpPr>
            <a:cxnSpLocks/>
          </p:cNvCxnSpPr>
          <p:nvPr userDrawn="1"/>
        </p:nvCxnSpPr>
        <p:spPr>
          <a:xfrm>
            <a:off x="599280" y="6208496"/>
            <a:ext cx="116522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platzhalter 4">
            <a:extLst>
              <a:ext uri="{FF2B5EF4-FFF2-40B4-BE49-F238E27FC236}">
                <a16:creationId xmlns:a16="http://schemas.microsoft.com/office/drawing/2014/main" id="{2BF79696-5DBD-CFB7-8692-5166E8CE44D6}"/>
              </a:ext>
            </a:extLst>
          </p:cNvPr>
          <p:cNvSpPr>
            <a:spLocks noGrp="1"/>
          </p:cNvSpPr>
          <p:nvPr>
            <p:ph type="body" sz="quarter" idx="11"/>
          </p:nvPr>
        </p:nvSpPr>
        <p:spPr>
          <a:xfrm>
            <a:off x="587375" y="438150"/>
            <a:ext cx="5437188" cy="738664"/>
          </a:xfrm>
          <a:prstGeom prst="rect">
            <a:avLst/>
          </a:prstGeom>
        </p:spPr>
        <p:txBody>
          <a:bodyPr>
            <a:noAutofit/>
          </a:bodyPr>
          <a:lstStyle>
            <a:lvl1pPr marL="0" indent="0">
              <a:buNone/>
              <a:defRPr sz="4800">
                <a:solidFill>
                  <a:schemeClr val="tx1"/>
                </a:solidFill>
                <a:latin typeface="+mj-lt"/>
              </a:defRPr>
            </a:lvl1pPr>
          </a:lstStyle>
          <a:p>
            <a:pPr lvl="0"/>
            <a:endParaRPr lang="de-DE"/>
          </a:p>
        </p:txBody>
      </p:sp>
      <p:sp>
        <p:nvSpPr>
          <p:cNvPr id="15" name="Textfeld 14">
            <a:extLst>
              <a:ext uri="{FF2B5EF4-FFF2-40B4-BE49-F238E27FC236}">
                <a16:creationId xmlns:a16="http://schemas.microsoft.com/office/drawing/2014/main" id="{5775BD5D-B471-D8FD-C92F-25667B81C956}"/>
              </a:ext>
            </a:extLst>
          </p:cNvPr>
          <p:cNvSpPr txBox="1"/>
          <p:nvPr userDrawn="1"/>
        </p:nvSpPr>
        <p:spPr>
          <a:xfrm>
            <a:off x="587375" y="1808164"/>
            <a:ext cx="3521075" cy="2500043"/>
          </a:xfrm>
          <a:prstGeom prst="rect">
            <a:avLst/>
          </a:prstGeom>
          <a:noFill/>
        </p:spPr>
        <p:txBody>
          <a:bodyPr wrap="square" lIns="0" tIns="0" rIns="0" bIns="0" rtlCol="0">
            <a:spAutoFit/>
          </a:bodyPr>
          <a:lstStyle/>
          <a:p>
            <a:pPr>
              <a:lnSpc>
                <a:spcPct val="135000"/>
              </a:lnSpc>
            </a:pPr>
            <a:r>
              <a:rPr lang="de-DE" sz="1200" err="1">
                <a:solidFill>
                  <a:schemeClr val="tx1"/>
                </a:solidFill>
                <a:latin typeface="+mj-lt"/>
              </a:rPr>
              <a:t>byte</a:t>
            </a:r>
            <a:r>
              <a:rPr lang="de-DE" sz="1200">
                <a:solidFill>
                  <a:schemeClr val="tx1"/>
                </a:solidFill>
                <a:latin typeface="+mj-lt"/>
              </a:rPr>
              <a:t> – Bayerische Agentur für Digitales GmbH</a:t>
            </a:r>
          </a:p>
          <a:p>
            <a:pPr>
              <a:lnSpc>
                <a:spcPct val="135000"/>
              </a:lnSpc>
            </a:pPr>
            <a:r>
              <a:rPr lang="de-DE" sz="1200">
                <a:solidFill>
                  <a:schemeClr val="tx1"/>
                </a:solidFill>
              </a:rPr>
              <a:t>Oskar-von-Miller-Ring 35</a:t>
            </a:r>
          </a:p>
          <a:p>
            <a:pPr>
              <a:lnSpc>
                <a:spcPct val="135000"/>
              </a:lnSpc>
              <a:spcAft>
                <a:spcPts val="2200"/>
              </a:spcAft>
            </a:pPr>
            <a:r>
              <a:rPr lang="de-DE" sz="1200">
                <a:solidFill>
                  <a:schemeClr val="tx1"/>
                </a:solidFill>
              </a:rPr>
              <a:t>D-80333 München</a:t>
            </a:r>
          </a:p>
          <a:p>
            <a:pPr>
              <a:lnSpc>
                <a:spcPct val="135000"/>
              </a:lnSpc>
            </a:pPr>
            <a:r>
              <a:rPr lang="de-DE" sz="1200">
                <a:solidFill>
                  <a:schemeClr val="tx1"/>
                </a:solidFill>
                <a:latin typeface="+mj-lt"/>
              </a:rPr>
              <a:t>Registergericht</a:t>
            </a:r>
          </a:p>
          <a:p>
            <a:pPr>
              <a:lnSpc>
                <a:spcPct val="135000"/>
              </a:lnSpc>
            </a:pPr>
            <a:r>
              <a:rPr lang="de-DE" sz="1200">
                <a:solidFill>
                  <a:schemeClr val="tx1"/>
                </a:solidFill>
              </a:rPr>
              <a:t>Amtsgericht München, HRB 273196</a:t>
            </a:r>
          </a:p>
          <a:p>
            <a:pPr>
              <a:lnSpc>
                <a:spcPct val="135000"/>
              </a:lnSpc>
            </a:pPr>
            <a:r>
              <a:rPr lang="de-DE" sz="1200">
                <a:solidFill>
                  <a:schemeClr val="tx1"/>
                </a:solidFill>
                <a:latin typeface="+mj-lt"/>
              </a:rPr>
              <a:t>Geschäftsführung</a:t>
            </a:r>
            <a:r>
              <a:rPr lang="de-DE" sz="1200">
                <a:solidFill>
                  <a:schemeClr val="tx1"/>
                </a:solidFill>
              </a:rPr>
              <a:t> </a:t>
            </a:r>
          </a:p>
          <a:p>
            <a:pPr>
              <a:lnSpc>
                <a:spcPct val="135000"/>
              </a:lnSpc>
            </a:pPr>
            <a:r>
              <a:rPr lang="de-DE" sz="1200">
                <a:solidFill>
                  <a:schemeClr val="tx1"/>
                </a:solidFill>
              </a:rPr>
              <a:t>Antonia Zierer, Thorsten Kühnel</a:t>
            </a:r>
          </a:p>
          <a:p>
            <a:pPr>
              <a:lnSpc>
                <a:spcPct val="135000"/>
              </a:lnSpc>
            </a:pPr>
            <a:r>
              <a:rPr lang="de-DE" sz="1200">
                <a:solidFill>
                  <a:schemeClr val="tx1"/>
                </a:solidFill>
                <a:latin typeface="+mj-lt"/>
              </a:rPr>
              <a:t>Postanschrift</a:t>
            </a:r>
          </a:p>
          <a:p>
            <a:pPr>
              <a:lnSpc>
                <a:spcPct val="135000"/>
              </a:lnSpc>
            </a:pPr>
            <a:r>
              <a:rPr lang="de-DE" sz="1200">
                <a:solidFill>
                  <a:schemeClr val="tx1"/>
                </a:solidFill>
              </a:rPr>
              <a:t>Orleanstraße 24, 81669 München</a:t>
            </a:r>
          </a:p>
        </p:txBody>
      </p:sp>
      <p:sp>
        <p:nvSpPr>
          <p:cNvPr id="9" name="Foliennummernplatzhalter 3">
            <a:extLst>
              <a:ext uri="{FF2B5EF4-FFF2-40B4-BE49-F238E27FC236}">
                <a16:creationId xmlns:a16="http://schemas.microsoft.com/office/drawing/2014/main" id="{A80D8BC7-B231-3015-E646-EB7380D437B4}"/>
              </a:ext>
            </a:extLst>
          </p:cNvPr>
          <p:cNvSpPr>
            <a:spLocks noGrp="1"/>
          </p:cNvSpPr>
          <p:nvPr>
            <p:ph type="sldNum" sz="quarter" idx="12"/>
          </p:nvPr>
        </p:nvSpPr>
        <p:spPr>
          <a:xfrm>
            <a:off x="11151393" y="6573838"/>
            <a:ext cx="848519" cy="123111"/>
          </a:xfrm>
        </p:spPr>
        <p:txBody>
          <a:bodyPr/>
          <a:lstStyle>
            <a:lvl1pPr>
              <a:defRPr>
                <a:solidFill>
                  <a:schemeClr val="bg1"/>
                </a:solidFill>
              </a:defRPr>
            </a:lvl1pPr>
          </a:lstStyle>
          <a:p>
            <a:r>
              <a:rPr lang="de-DE"/>
              <a:t>Seite </a:t>
            </a:r>
            <a:fld id="{F3829FEA-ED73-4A5A-98B4-E51078EAB7AC}" type="slidenum">
              <a:rPr lang="de-DE" smtClean="0">
                <a:latin typeface="+mj-lt"/>
              </a:rPr>
              <a:pPr/>
              <a:t>‹Nr.›</a:t>
            </a:fld>
            <a:endParaRPr lang="de-DE">
              <a:latin typeface="+mj-lt"/>
            </a:endParaRPr>
          </a:p>
        </p:txBody>
      </p:sp>
      <p:pic>
        <p:nvPicPr>
          <p:cNvPr id="6" name="Grafik 5">
            <a:extLst>
              <a:ext uri="{FF2B5EF4-FFF2-40B4-BE49-F238E27FC236}">
                <a16:creationId xmlns:a16="http://schemas.microsoft.com/office/drawing/2014/main" id="{93BCEB2B-3C19-BB27-8BA5-1D41AE1CD49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155112" y="195211"/>
            <a:ext cx="5822379" cy="6062346"/>
          </a:xfrm>
          <a:prstGeom prst="rect">
            <a:avLst/>
          </a:prstGeom>
        </p:spPr>
      </p:pic>
      <p:grpSp>
        <p:nvGrpSpPr>
          <p:cNvPr id="55" name="Gruppieren 54">
            <a:extLst>
              <a:ext uri="{FF2B5EF4-FFF2-40B4-BE49-F238E27FC236}">
                <a16:creationId xmlns:a16="http://schemas.microsoft.com/office/drawing/2014/main" id="{66892704-F3F0-AD24-6FF5-C6848ACB90AE}"/>
              </a:ext>
            </a:extLst>
          </p:cNvPr>
          <p:cNvGrpSpPr/>
          <p:nvPr userDrawn="1"/>
        </p:nvGrpSpPr>
        <p:grpSpPr>
          <a:xfrm>
            <a:off x="11115518" y="188913"/>
            <a:ext cx="884395" cy="1075002"/>
            <a:chOff x="11115518" y="188913"/>
            <a:chExt cx="884395" cy="1075002"/>
          </a:xfrm>
        </p:grpSpPr>
        <p:sp>
          <p:nvSpPr>
            <p:cNvPr id="11" name="Freihandform: Form 10">
              <a:extLst>
                <a:ext uri="{FF2B5EF4-FFF2-40B4-BE49-F238E27FC236}">
                  <a16:creationId xmlns:a16="http://schemas.microsoft.com/office/drawing/2014/main" id="{471446E5-A112-1491-BA74-759BCC17D89D}"/>
                </a:ext>
              </a:extLst>
            </p:cNvPr>
            <p:cNvSpPr/>
            <p:nvPr/>
          </p:nvSpPr>
          <p:spPr>
            <a:xfrm>
              <a:off x="11115518" y="188913"/>
              <a:ext cx="884395" cy="884396"/>
            </a:xfrm>
            <a:custGeom>
              <a:avLst/>
              <a:gdLst>
                <a:gd name="connsiteX0" fmla="*/ 762297 w 884395"/>
                <a:gd name="connsiteY0" fmla="*/ 0 h 884396"/>
                <a:gd name="connsiteX1" fmla="*/ 762297 w 884395"/>
                <a:gd name="connsiteY1" fmla="*/ 117296 h 884396"/>
                <a:gd name="connsiteX2" fmla="*/ 645001 w 884395"/>
                <a:gd name="connsiteY2" fmla="*/ 117296 h 884396"/>
                <a:gd name="connsiteX3" fmla="*/ 645001 w 884395"/>
                <a:gd name="connsiteY3" fmla="*/ 0 h 884396"/>
                <a:gd name="connsiteX4" fmla="*/ 0 w 884395"/>
                <a:gd name="connsiteY4" fmla="*/ 0 h 884396"/>
                <a:gd name="connsiteX5" fmla="*/ 0 w 884395"/>
                <a:gd name="connsiteY5" fmla="*/ 884396 h 884396"/>
                <a:gd name="connsiteX6" fmla="*/ 884396 w 884395"/>
                <a:gd name="connsiteY6" fmla="*/ 884396 h 884396"/>
                <a:gd name="connsiteX7" fmla="*/ 884396 w 884395"/>
                <a:gd name="connsiteY7" fmla="*/ 0 h 884396"/>
                <a:gd name="connsiteX8" fmla="*/ 762297 w 884395"/>
                <a:gd name="connsiteY8" fmla="*/ 0 h 88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395" h="884396">
                  <a:moveTo>
                    <a:pt x="762297" y="0"/>
                  </a:moveTo>
                  <a:lnTo>
                    <a:pt x="762297" y="117296"/>
                  </a:lnTo>
                  <a:lnTo>
                    <a:pt x="645001" y="117296"/>
                  </a:lnTo>
                  <a:lnTo>
                    <a:pt x="645001" y="0"/>
                  </a:lnTo>
                  <a:lnTo>
                    <a:pt x="0" y="0"/>
                  </a:lnTo>
                  <a:lnTo>
                    <a:pt x="0" y="884396"/>
                  </a:lnTo>
                  <a:lnTo>
                    <a:pt x="884396" y="884396"/>
                  </a:lnTo>
                  <a:lnTo>
                    <a:pt x="884396" y="0"/>
                  </a:lnTo>
                  <a:lnTo>
                    <a:pt x="762297" y="0"/>
                  </a:lnTo>
                  <a:close/>
                </a:path>
              </a:pathLst>
            </a:custGeom>
            <a:solidFill>
              <a:srgbClr val="009FE3"/>
            </a:solidFill>
            <a:ln w="12519" cap="flat">
              <a:noFill/>
              <a:prstDash val="solid"/>
              <a:miter/>
            </a:ln>
          </p:spPr>
          <p:txBody>
            <a:bodyPr rtlCol="0" anchor="ctr"/>
            <a:lstStyle/>
            <a:p>
              <a:endParaRPr lang="de-DE" b="1"/>
            </a:p>
          </p:txBody>
        </p:sp>
        <p:sp>
          <p:nvSpPr>
            <p:cNvPr id="13" name="Freihandform: Form 12">
              <a:extLst>
                <a:ext uri="{FF2B5EF4-FFF2-40B4-BE49-F238E27FC236}">
                  <a16:creationId xmlns:a16="http://schemas.microsoft.com/office/drawing/2014/main" id="{536614C2-B96E-1F46-BA68-6AC54149C9D7}"/>
                </a:ext>
              </a:extLst>
            </p:cNvPr>
            <p:cNvSpPr/>
            <p:nvPr/>
          </p:nvSpPr>
          <p:spPr>
            <a:xfrm>
              <a:off x="11643096" y="306208"/>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D4EDFC"/>
            </a:solidFill>
            <a:ln w="12519" cap="flat">
              <a:noFill/>
              <a:prstDash val="solid"/>
              <a:miter/>
            </a:ln>
          </p:spPr>
          <p:txBody>
            <a:bodyPr rtlCol="0" anchor="ctr"/>
            <a:lstStyle/>
            <a:p>
              <a:endParaRPr lang="de-DE" b="1"/>
            </a:p>
          </p:txBody>
        </p:sp>
        <p:sp>
          <p:nvSpPr>
            <p:cNvPr id="16" name="Freihandform: Form 15">
              <a:extLst>
                <a:ext uri="{FF2B5EF4-FFF2-40B4-BE49-F238E27FC236}">
                  <a16:creationId xmlns:a16="http://schemas.microsoft.com/office/drawing/2014/main" id="{5DA4B0E6-52FD-9F9A-FF4A-47C80FA8B565}"/>
                </a:ext>
              </a:extLst>
            </p:cNvPr>
            <p:cNvSpPr/>
            <p:nvPr/>
          </p:nvSpPr>
          <p:spPr>
            <a:xfrm>
              <a:off x="11760518" y="540042"/>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DD00"/>
            </a:solidFill>
            <a:ln w="12519" cap="flat">
              <a:noFill/>
              <a:prstDash val="solid"/>
              <a:miter/>
            </a:ln>
          </p:spPr>
          <p:txBody>
            <a:bodyPr rtlCol="0" anchor="ctr"/>
            <a:lstStyle/>
            <a:p>
              <a:endParaRPr lang="de-DE" b="1"/>
            </a:p>
          </p:txBody>
        </p:sp>
        <p:sp>
          <p:nvSpPr>
            <p:cNvPr id="17" name="Freihandform: Form 16">
              <a:extLst>
                <a:ext uri="{FF2B5EF4-FFF2-40B4-BE49-F238E27FC236}">
                  <a16:creationId xmlns:a16="http://schemas.microsoft.com/office/drawing/2014/main" id="{F551150B-8CDD-720A-2499-B1F02842DAE4}"/>
                </a:ext>
              </a:extLst>
            </p:cNvPr>
            <p:cNvSpPr/>
            <p:nvPr/>
          </p:nvSpPr>
          <p:spPr>
            <a:xfrm>
              <a:off x="11525800" y="422746"/>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E30613"/>
            </a:solidFill>
            <a:ln w="12519" cap="flat">
              <a:noFill/>
              <a:prstDash val="solid"/>
              <a:miter/>
            </a:ln>
          </p:spPr>
          <p:txBody>
            <a:bodyPr rtlCol="0" anchor="ctr"/>
            <a:lstStyle/>
            <a:p>
              <a:endParaRPr lang="de-DE" b="1"/>
            </a:p>
          </p:txBody>
        </p:sp>
        <p:sp>
          <p:nvSpPr>
            <p:cNvPr id="18" name="Freihandform: Form 17">
              <a:extLst>
                <a:ext uri="{FF2B5EF4-FFF2-40B4-BE49-F238E27FC236}">
                  <a16:creationId xmlns:a16="http://schemas.microsoft.com/office/drawing/2014/main" id="{05E66A12-8F99-31A3-CBAE-A792486DEB95}"/>
                </a:ext>
              </a:extLst>
            </p:cNvPr>
            <p:cNvSpPr/>
            <p:nvPr/>
          </p:nvSpPr>
          <p:spPr>
            <a:xfrm>
              <a:off x="11525800" y="18891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A1DAF8"/>
            </a:solidFill>
            <a:ln w="12519" cap="flat">
              <a:noFill/>
              <a:prstDash val="solid"/>
              <a:miter/>
            </a:ln>
          </p:spPr>
          <p:txBody>
            <a:bodyPr rtlCol="0" anchor="ctr"/>
            <a:lstStyle/>
            <a:p>
              <a:endParaRPr lang="de-DE" b="1"/>
            </a:p>
          </p:txBody>
        </p:sp>
        <p:grpSp>
          <p:nvGrpSpPr>
            <p:cNvPr id="19" name="Gruppieren 18">
              <a:extLst>
                <a:ext uri="{FF2B5EF4-FFF2-40B4-BE49-F238E27FC236}">
                  <a16:creationId xmlns:a16="http://schemas.microsoft.com/office/drawing/2014/main" id="{FAB590F4-B0C6-C455-7D41-E162C12DD691}"/>
                </a:ext>
              </a:extLst>
            </p:cNvPr>
            <p:cNvGrpSpPr/>
            <p:nvPr userDrawn="1"/>
          </p:nvGrpSpPr>
          <p:grpSpPr>
            <a:xfrm>
              <a:off x="11115897" y="1129176"/>
              <a:ext cx="883889" cy="134739"/>
              <a:chOff x="12266005" y="1135893"/>
              <a:chExt cx="883889" cy="134739"/>
            </a:xfrm>
            <a:solidFill>
              <a:schemeClr val="tx1"/>
            </a:solidFill>
          </p:grpSpPr>
          <p:sp>
            <p:nvSpPr>
              <p:cNvPr id="26" name="Freihandform: Form 25">
                <a:extLst>
                  <a:ext uri="{FF2B5EF4-FFF2-40B4-BE49-F238E27FC236}">
                    <a16:creationId xmlns:a16="http://schemas.microsoft.com/office/drawing/2014/main" id="{D5AA29A5-7BFB-0C64-2D6B-A87D2C0F963E}"/>
                  </a:ext>
                </a:extLst>
              </p:cNvPr>
              <p:cNvSpPr/>
              <p:nvPr/>
            </p:nvSpPr>
            <p:spPr>
              <a:xfrm>
                <a:off x="12266005" y="1137030"/>
                <a:ext cx="36402" cy="49041"/>
              </a:xfrm>
              <a:custGeom>
                <a:avLst/>
                <a:gdLst>
                  <a:gd name="connsiteX0" fmla="*/ 0 w 36402"/>
                  <a:gd name="connsiteY0" fmla="*/ 48915 h 49041"/>
                  <a:gd name="connsiteX1" fmla="*/ 0 w 36402"/>
                  <a:gd name="connsiteY1" fmla="*/ 0 h 49041"/>
                  <a:gd name="connsiteX2" fmla="*/ 19591 w 36402"/>
                  <a:gd name="connsiteY2" fmla="*/ 0 h 49041"/>
                  <a:gd name="connsiteX3" fmla="*/ 31220 w 36402"/>
                  <a:gd name="connsiteY3" fmla="*/ 3539 h 49041"/>
                  <a:gd name="connsiteX4" fmla="*/ 35265 w 36402"/>
                  <a:gd name="connsiteY4" fmla="*/ 12640 h 49041"/>
                  <a:gd name="connsiteX5" fmla="*/ 32737 w 36402"/>
                  <a:gd name="connsiteY5" fmla="*/ 19971 h 49041"/>
                  <a:gd name="connsiteX6" fmla="*/ 26670 w 36402"/>
                  <a:gd name="connsiteY6" fmla="*/ 23763 h 49041"/>
                  <a:gd name="connsiteX7" fmla="*/ 33621 w 36402"/>
                  <a:gd name="connsiteY7" fmla="*/ 27934 h 49041"/>
                  <a:gd name="connsiteX8" fmla="*/ 36402 w 36402"/>
                  <a:gd name="connsiteY8" fmla="*/ 35644 h 49041"/>
                  <a:gd name="connsiteX9" fmla="*/ 32231 w 36402"/>
                  <a:gd name="connsiteY9" fmla="*/ 45250 h 49041"/>
                  <a:gd name="connsiteX10" fmla="*/ 20350 w 36402"/>
                  <a:gd name="connsiteY10" fmla="*/ 49042 h 49041"/>
                  <a:gd name="connsiteX11" fmla="*/ 0 w 36402"/>
                  <a:gd name="connsiteY11" fmla="*/ 49042 h 49041"/>
                  <a:gd name="connsiteX12" fmla="*/ 8974 w 36402"/>
                  <a:gd name="connsiteY12" fmla="*/ 20603 h 49041"/>
                  <a:gd name="connsiteX13" fmla="*/ 18327 w 36402"/>
                  <a:gd name="connsiteY13" fmla="*/ 20603 h 49041"/>
                  <a:gd name="connsiteX14" fmla="*/ 24142 w 36402"/>
                  <a:gd name="connsiteY14" fmla="*/ 18833 h 49041"/>
                  <a:gd name="connsiteX15" fmla="*/ 26164 w 36402"/>
                  <a:gd name="connsiteY15" fmla="*/ 13904 h 49041"/>
                  <a:gd name="connsiteX16" fmla="*/ 24142 w 36402"/>
                  <a:gd name="connsiteY16" fmla="*/ 9100 h 49041"/>
                  <a:gd name="connsiteX17" fmla="*/ 18201 w 36402"/>
                  <a:gd name="connsiteY17" fmla="*/ 7331 h 49041"/>
                  <a:gd name="connsiteX18" fmla="*/ 8974 w 36402"/>
                  <a:gd name="connsiteY18" fmla="*/ 7331 h 49041"/>
                  <a:gd name="connsiteX19" fmla="*/ 8974 w 36402"/>
                  <a:gd name="connsiteY19" fmla="*/ 20603 h 49041"/>
                  <a:gd name="connsiteX20" fmla="*/ 8974 w 36402"/>
                  <a:gd name="connsiteY20" fmla="*/ 41711 h 49041"/>
                  <a:gd name="connsiteX21" fmla="*/ 18959 w 36402"/>
                  <a:gd name="connsiteY21" fmla="*/ 41711 h 49041"/>
                  <a:gd name="connsiteX22" fmla="*/ 25153 w 36402"/>
                  <a:gd name="connsiteY22" fmla="*/ 39815 h 49041"/>
                  <a:gd name="connsiteX23" fmla="*/ 27302 w 36402"/>
                  <a:gd name="connsiteY23" fmla="*/ 34633 h 49041"/>
                  <a:gd name="connsiteX24" fmla="*/ 25026 w 36402"/>
                  <a:gd name="connsiteY24" fmla="*/ 29324 h 49041"/>
                  <a:gd name="connsiteX25" fmla="*/ 18833 w 36402"/>
                  <a:gd name="connsiteY25" fmla="*/ 27302 h 49041"/>
                  <a:gd name="connsiteX26" fmla="*/ 8974 w 36402"/>
                  <a:gd name="connsiteY26" fmla="*/ 27302 h 49041"/>
                  <a:gd name="connsiteX27" fmla="*/ 8974 w 36402"/>
                  <a:gd name="connsiteY27" fmla="*/ 41711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402" h="49041">
                    <a:moveTo>
                      <a:pt x="0" y="48915"/>
                    </a:moveTo>
                    <a:lnTo>
                      <a:pt x="0" y="0"/>
                    </a:lnTo>
                    <a:lnTo>
                      <a:pt x="19591" y="0"/>
                    </a:lnTo>
                    <a:cubicBezTo>
                      <a:pt x="24647" y="0"/>
                      <a:pt x="28566" y="1138"/>
                      <a:pt x="31220" y="3539"/>
                    </a:cubicBezTo>
                    <a:cubicBezTo>
                      <a:pt x="33874" y="5941"/>
                      <a:pt x="35265" y="8848"/>
                      <a:pt x="35265" y="12640"/>
                    </a:cubicBezTo>
                    <a:cubicBezTo>
                      <a:pt x="35265" y="15673"/>
                      <a:pt x="34380" y="18201"/>
                      <a:pt x="32737" y="19971"/>
                    </a:cubicBezTo>
                    <a:cubicBezTo>
                      <a:pt x="31094" y="21867"/>
                      <a:pt x="29071" y="23004"/>
                      <a:pt x="26670" y="23763"/>
                    </a:cubicBezTo>
                    <a:cubicBezTo>
                      <a:pt x="29450" y="24268"/>
                      <a:pt x="31726" y="25658"/>
                      <a:pt x="33621" y="27934"/>
                    </a:cubicBezTo>
                    <a:cubicBezTo>
                      <a:pt x="35391" y="30082"/>
                      <a:pt x="36402" y="32737"/>
                      <a:pt x="36402" y="35644"/>
                    </a:cubicBezTo>
                    <a:cubicBezTo>
                      <a:pt x="36402" y="39562"/>
                      <a:pt x="35012" y="42722"/>
                      <a:pt x="32231" y="45250"/>
                    </a:cubicBezTo>
                    <a:cubicBezTo>
                      <a:pt x="29450" y="47778"/>
                      <a:pt x="25532" y="49042"/>
                      <a:pt x="20350" y="49042"/>
                    </a:cubicBezTo>
                    <a:lnTo>
                      <a:pt x="0" y="49042"/>
                    </a:lnTo>
                    <a:close/>
                    <a:moveTo>
                      <a:pt x="8974" y="20603"/>
                    </a:moveTo>
                    <a:lnTo>
                      <a:pt x="18327" y="20603"/>
                    </a:lnTo>
                    <a:cubicBezTo>
                      <a:pt x="20855" y="20603"/>
                      <a:pt x="22751" y="19971"/>
                      <a:pt x="24142" y="18833"/>
                    </a:cubicBezTo>
                    <a:cubicBezTo>
                      <a:pt x="25532" y="17695"/>
                      <a:pt x="26164" y="16052"/>
                      <a:pt x="26164" y="13904"/>
                    </a:cubicBezTo>
                    <a:cubicBezTo>
                      <a:pt x="26164" y="11881"/>
                      <a:pt x="25532" y="10238"/>
                      <a:pt x="24142" y="9100"/>
                    </a:cubicBezTo>
                    <a:cubicBezTo>
                      <a:pt x="22751" y="7963"/>
                      <a:pt x="20855" y="7331"/>
                      <a:pt x="18201" y="7331"/>
                    </a:cubicBezTo>
                    <a:lnTo>
                      <a:pt x="8974" y="7331"/>
                    </a:lnTo>
                    <a:lnTo>
                      <a:pt x="8974" y="20603"/>
                    </a:lnTo>
                    <a:close/>
                    <a:moveTo>
                      <a:pt x="8974" y="41711"/>
                    </a:moveTo>
                    <a:lnTo>
                      <a:pt x="18959" y="41711"/>
                    </a:lnTo>
                    <a:cubicBezTo>
                      <a:pt x="21614" y="41711"/>
                      <a:pt x="23636" y="41079"/>
                      <a:pt x="25153" y="39815"/>
                    </a:cubicBezTo>
                    <a:cubicBezTo>
                      <a:pt x="26670" y="38551"/>
                      <a:pt x="27302" y="36781"/>
                      <a:pt x="27302" y="34633"/>
                    </a:cubicBezTo>
                    <a:cubicBezTo>
                      <a:pt x="27302" y="32484"/>
                      <a:pt x="26543" y="30588"/>
                      <a:pt x="25026" y="29324"/>
                    </a:cubicBezTo>
                    <a:cubicBezTo>
                      <a:pt x="23510" y="28060"/>
                      <a:pt x="21487" y="27302"/>
                      <a:pt x="18833" y="27302"/>
                    </a:cubicBezTo>
                    <a:lnTo>
                      <a:pt x="8974" y="27302"/>
                    </a:lnTo>
                    <a:lnTo>
                      <a:pt x="8974" y="41711"/>
                    </a:lnTo>
                    <a:close/>
                  </a:path>
                </a:pathLst>
              </a:custGeom>
              <a:grpFill/>
              <a:ln w="12519" cap="flat">
                <a:noFill/>
                <a:prstDash val="solid"/>
                <a:miter/>
              </a:ln>
            </p:spPr>
            <p:txBody>
              <a:bodyPr rtlCol="0" anchor="ctr"/>
              <a:lstStyle/>
              <a:p>
                <a:endParaRPr lang="de-DE" b="1"/>
              </a:p>
            </p:txBody>
          </p:sp>
          <p:sp>
            <p:nvSpPr>
              <p:cNvPr id="27" name="Freihandform: Form 26">
                <a:extLst>
                  <a:ext uri="{FF2B5EF4-FFF2-40B4-BE49-F238E27FC236}">
                    <a16:creationId xmlns:a16="http://schemas.microsoft.com/office/drawing/2014/main" id="{3E4037E5-82EC-C877-F35C-971B5CAC0B02}"/>
                  </a:ext>
                </a:extLst>
              </p:cNvPr>
              <p:cNvSpPr/>
              <p:nvPr/>
            </p:nvSpPr>
            <p:spPr>
              <a:xfrm>
                <a:off x="12314541" y="1137030"/>
                <a:ext cx="45755" cy="48915"/>
              </a:xfrm>
              <a:custGeom>
                <a:avLst/>
                <a:gdLst>
                  <a:gd name="connsiteX0" fmla="*/ 0 w 45755"/>
                  <a:gd name="connsiteY0" fmla="*/ 48915 h 48915"/>
                  <a:gd name="connsiteX1" fmla="*/ 17822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7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822" y="0"/>
                    </a:lnTo>
                    <a:lnTo>
                      <a:pt x="27934" y="0"/>
                    </a:lnTo>
                    <a:lnTo>
                      <a:pt x="45756" y="48915"/>
                    </a:lnTo>
                    <a:lnTo>
                      <a:pt x="36276" y="48915"/>
                    </a:lnTo>
                    <a:lnTo>
                      <a:pt x="32357"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b="1"/>
              </a:p>
            </p:txBody>
          </p:sp>
          <p:sp>
            <p:nvSpPr>
              <p:cNvPr id="28" name="Freihandform: Form 27">
                <a:extLst>
                  <a:ext uri="{FF2B5EF4-FFF2-40B4-BE49-F238E27FC236}">
                    <a16:creationId xmlns:a16="http://schemas.microsoft.com/office/drawing/2014/main" id="{C39CE723-7B37-A146-BAD1-9539FA97C06D}"/>
                  </a:ext>
                </a:extLst>
              </p:cNvPr>
              <p:cNvSpPr/>
              <p:nvPr/>
            </p:nvSpPr>
            <p:spPr>
              <a:xfrm>
                <a:off x="12365226" y="1137030"/>
                <a:ext cx="41584" cy="48915"/>
              </a:xfrm>
              <a:custGeom>
                <a:avLst/>
                <a:gdLst>
                  <a:gd name="connsiteX0" fmla="*/ 16305 w 41584"/>
                  <a:gd name="connsiteY0" fmla="*/ 48915 h 48915"/>
                  <a:gd name="connsiteX1" fmla="*/ 16305 w 41584"/>
                  <a:gd name="connsiteY1" fmla="*/ 31473 h 48915"/>
                  <a:gd name="connsiteX2" fmla="*/ 0 w 41584"/>
                  <a:gd name="connsiteY2" fmla="*/ 0 h 48915"/>
                  <a:gd name="connsiteX3" fmla="*/ 10112 w 41584"/>
                  <a:gd name="connsiteY3" fmla="*/ 0 h 48915"/>
                  <a:gd name="connsiteX4" fmla="*/ 20855 w 41584"/>
                  <a:gd name="connsiteY4" fmla="*/ 22499 h 48915"/>
                  <a:gd name="connsiteX5" fmla="*/ 31599 w 41584"/>
                  <a:gd name="connsiteY5" fmla="*/ 0 h 48915"/>
                  <a:gd name="connsiteX6" fmla="*/ 41584 w 41584"/>
                  <a:gd name="connsiteY6" fmla="*/ 0 h 48915"/>
                  <a:gd name="connsiteX7" fmla="*/ 25279 w 41584"/>
                  <a:gd name="connsiteY7" fmla="*/ 31473 h 48915"/>
                  <a:gd name="connsiteX8" fmla="*/ 25279 w 41584"/>
                  <a:gd name="connsiteY8" fmla="*/ 48915 h 48915"/>
                  <a:gd name="connsiteX9" fmla="*/ 16305 w 41584"/>
                  <a:gd name="connsiteY9"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84" h="48915">
                    <a:moveTo>
                      <a:pt x="16305" y="48915"/>
                    </a:moveTo>
                    <a:lnTo>
                      <a:pt x="16305" y="31473"/>
                    </a:lnTo>
                    <a:lnTo>
                      <a:pt x="0" y="0"/>
                    </a:lnTo>
                    <a:lnTo>
                      <a:pt x="10112" y="0"/>
                    </a:lnTo>
                    <a:lnTo>
                      <a:pt x="20855" y="22499"/>
                    </a:lnTo>
                    <a:lnTo>
                      <a:pt x="31599" y="0"/>
                    </a:lnTo>
                    <a:lnTo>
                      <a:pt x="41584" y="0"/>
                    </a:lnTo>
                    <a:lnTo>
                      <a:pt x="25279" y="31473"/>
                    </a:lnTo>
                    <a:lnTo>
                      <a:pt x="25279" y="48915"/>
                    </a:lnTo>
                    <a:lnTo>
                      <a:pt x="16305" y="48915"/>
                    </a:lnTo>
                    <a:close/>
                  </a:path>
                </a:pathLst>
              </a:custGeom>
              <a:grpFill/>
              <a:ln w="12519" cap="flat">
                <a:noFill/>
                <a:prstDash val="solid"/>
                <a:miter/>
              </a:ln>
            </p:spPr>
            <p:txBody>
              <a:bodyPr rtlCol="0" anchor="ctr"/>
              <a:lstStyle/>
              <a:p>
                <a:endParaRPr lang="de-DE" b="1"/>
              </a:p>
            </p:txBody>
          </p:sp>
          <p:sp>
            <p:nvSpPr>
              <p:cNvPr id="29" name="Freihandform: Form 28">
                <a:extLst>
                  <a:ext uri="{FF2B5EF4-FFF2-40B4-BE49-F238E27FC236}">
                    <a16:creationId xmlns:a16="http://schemas.microsoft.com/office/drawing/2014/main" id="{51BB3467-A8AA-B1FD-C793-E9FF38CBA970}"/>
                  </a:ext>
                </a:extLst>
              </p:cNvPr>
              <p:cNvSpPr/>
              <p:nvPr/>
            </p:nvSpPr>
            <p:spPr>
              <a:xfrm>
                <a:off x="1242058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b="1"/>
              </a:p>
            </p:txBody>
          </p:sp>
          <p:sp>
            <p:nvSpPr>
              <p:cNvPr id="30" name="Freihandform: Form 29">
                <a:extLst>
                  <a:ext uri="{FF2B5EF4-FFF2-40B4-BE49-F238E27FC236}">
                    <a16:creationId xmlns:a16="http://schemas.microsoft.com/office/drawing/2014/main" id="{42AFEFF2-664D-28B2-9961-732F3F3F6B6F}"/>
                  </a:ext>
                </a:extLst>
              </p:cNvPr>
              <p:cNvSpPr/>
              <p:nvPr/>
            </p:nvSpPr>
            <p:spPr>
              <a:xfrm>
                <a:off x="12468871" y="1137030"/>
                <a:ext cx="35770" cy="49041"/>
              </a:xfrm>
              <a:custGeom>
                <a:avLst/>
                <a:gdLst>
                  <a:gd name="connsiteX0" fmla="*/ 126 w 35770"/>
                  <a:gd name="connsiteY0" fmla="*/ 48915 h 49041"/>
                  <a:gd name="connsiteX1" fmla="*/ 126 w 35770"/>
                  <a:gd name="connsiteY1" fmla="*/ 0 h 49041"/>
                  <a:gd name="connsiteX2" fmla="*/ 18075 w 35770"/>
                  <a:gd name="connsiteY2" fmla="*/ 0 h 49041"/>
                  <a:gd name="connsiteX3" fmla="*/ 27681 w 35770"/>
                  <a:gd name="connsiteY3" fmla="*/ 2022 h 49041"/>
                  <a:gd name="connsiteX4" fmla="*/ 33369 w 35770"/>
                  <a:gd name="connsiteY4" fmla="*/ 7457 h 49041"/>
                  <a:gd name="connsiteX5" fmla="*/ 35265 w 35770"/>
                  <a:gd name="connsiteY5" fmla="*/ 14915 h 49041"/>
                  <a:gd name="connsiteX6" fmla="*/ 32989 w 35770"/>
                  <a:gd name="connsiteY6" fmla="*/ 23130 h 49041"/>
                  <a:gd name="connsiteX7" fmla="*/ 25658 w 35770"/>
                  <a:gd name="connsiteY7" fmla="*/ 28566 h 49041"/>
                  <a:gd name="connsiteX8" fmla="*/ 35770 w 35770"/>
                  <a:gd name="connsiteY8" fmla="*/ 49042 h 49041"/>
                  <a:gd name="connsiteX9" fmla="*/ 25532 w 35770"/>
                  <a:gd name="connsiteY9" fmla="*/ 49042 h 49041"/>
                  <a:gd name="connsiteX10" fmla="*/ 16432 w 35770"/>
                  <a:gd name="connsiteY10" fmla="*/ 29829 h 49041"/>
                  <a:gd name="connsiteX11" fmla="*/ 8974 w 35770"/>
                  <a:gd name="connsiteY11" fmla="*/ 29829 h 49041"/>
                  <a:gd name="connsiteX12" fmla="*/ 8974 w 35770"/>
                  <a:gd name="connsiteY12" fmla="*/ 49042 h 49041"/>
                  <a:gd name="connsiteX13" fmla="*/ 0 w 35770"/>
                  <a:gd name="connsiteY13" fmla="*/ 49042 h 49041"/>
                  <a:gd name="connsiteX14" fmla="*/ 9101 w 35770"/>
                  <a:gd name="connsiteY14" fmla="*/ 23130 h 49041"/>
                  <a:gd name="connsiteX15" fmla="*/ 17569 w 35770"/>
                  <a:gd name="connsiteY15" fmla="*/ 23130 h 49041"/>
                  <a:gd name="connsiteX16" fmla="*/ 24142 w 35770"/>
                  <a:gd name="connsiteY16" fmla="*/ 20982 h 49041"/>
                  <a:gd name="connsiteX17" fmla="*/ 26290 w 35770"/>
                  <a:gd name="connsiteY17" fmla="*/ 15294 h 49041"/>
                  <a:gd name="connsiteX18" fmla="*/ 24268 w 35770"/>
                  <a:gd name="connsiteY18" fmla="*/ 9732 h 49041"/>
                  <a:gd name="connsiteX19" fmla="*/ 17569 w 35770"/>
                  <a:gd name="connsiteY19" fmla="*/ 7584 h 49041"/>
                  <a:gd name="connsiteX20" fmla="*/ 9227 w 35770"/>
                  <a:gd name="connsiteY20" fmla="*/ 7584 h 49041"/>
                  <a:gd name="connsiteX21" fmla="*/ 9227 w 35770"/>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989" y="23130"/>
                    </a:cubicBezTo>
                    <a:cubicBezTo>
                      <a:pt x="31473" y="25532"/>
                      <a:pt x="28945" y="27428"/>
                      <a:pt x="25658" y="28566"/>
                    </a:cubicBezTo>
                    <a:lnTo>
                      <a:pt x="35770" y="49042"/>
                    </a:lnTo>
                    <a:lnTo>
                      <a:pt x="25532" y="49042"/>
                    </a:lnTo>
                    <a:lnTo>
                      <a:pt x="16432"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290" y="17569"/>
                      <a:pt x="26290" y="15294"/>
                    </a:cubicBezTo>
                    <a:cubicBezTo>
                      <a:pt x="26290" y="13019"/>
                      <a:pt x="25658" y="11123"/>
                      <a:pt x="24268" y="9732"/>
                    </a:cubicBezTo>
                    <a:cubicBezTo>
                      <a:pt x="22878" y="8342"/>
                      <a:pt x="20729" y="7584"/>
                      <a:pt x="17569" y="7584"/>
                    </a:cubicBezTo>
                    <a:lnTo>
                      <a:pt x="9227" y="7584"/>
                    </a:lnTo>
                    <a:lnTo>
                      <a:pt x="9227" y="23130"/>
                    </a:lnTo>
                    <a:close/>
                  </a:path>
                </a:pathLst>
              </a:custGeom>
              <a:grpFill/>
              <a:ln w="12519" cap="flat">
                <a:noFill/>
                <a:prstDash val="solid"/>
                <a:miter/>
              </a:ln>
            </p:spPr>
            <p:txBody>
              <a:bodyPr rtlCol="0" anchor="ctr"/>
              <a:lstStyle/>
              <a:p>
                <a:endParaRPr lang="de-DE" b="1"/>
              </a:p>
            </p:txBody>
          </p:sp>
          <p:sp>
            <p:nvSpPr>
              <p:cNvPr id="31" name="Freihandform: Form 30">
                <a:extLst>
                  <a:ext uri="{FF2B5EF4-FFF2-40B4-BE49-F238E27FC236}">
                    <a16:creationId xmlns:a16="http://schemas.microsoft.com/office/drawing/2014/main" id="{C07C7C4F-5D3A-172B-AA2D-F36F90DCDB32}"/>
                  </a:ext>
                </a:extLst>
              </p:cNvPr>
              <p:cNvSpPr/>
              <p:nvPr/>
            </p:nvSpPr>
            <p:spPr>
              <a:xfrm>
                <a:off x="12520567" y="1137030"/>
                <a:ext cx="8974" cy="48915"/>
              </a:xfrm>
              <a:custGeom>
                <a:avLst/>
                <a:gdLst>
                  <a:gd name="connsiteX0" fmla="*/ 0 w 8974"/>
                  <a:gd name="connsiteY0" fmla="*/ 0 h 48915"/>
                  <a:gd name="connsiteX1" fmla="*/ 8974 w 8974"/>
                  <a:gd name="connsiteY1" fmla="*/ 0 h 48915"/>
                  <a:gd name="connsiteX2" fmla="*/ 8974 w 8974"/>
                  <a:gd name="connsiteY2" fmla="*/ 48916 h 48915"/>
                  <a:gd name="connsiteX3" fmla="*/ 0 w 8974"/>
                  <a:gd name="connsiteY3" fmla="*/ 48916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6"/>
                    </a:lnTo>
                    <a:lnTo>
                      <a:pt x="0" y="48916"/>
                    </a:lnTo>
                    <a:close/>
                  </a:path>
                </a:pathLst>
              </a:custGeom>
              <a:grpFill/>
              <a:ln w="12519" cap="flat">
                <a:noFill/>
                <a:prstDash val="solid"/>
                <a:miter/>
              </a:ln>
            </p:spPr>
            <p:txBody>
              <a:bodyPr rtlCol="0" anchor="ctr"/>
              <a:lstStyle/>
              <a:p>
                <a:endParaRPr lang="de-DE" b="1"/>
              </a:p>
            </p:txBody>
          </p:sp>
          <p:sp>
            <p:nvSpPr>
              <p:cNvPr id="32" name="Freihandform: Form 31">
                <a:extLst>
                  <a:ext uri="{FF2B5EF4-FFF2-40B4-BE49-F238E27FC236}">
                    <a16:creationId xmlns:a16="http://schemas.microsoft.com/office/drawing/2014/main" id="{5F795521-8DA6-5ABC-0AF5-3201D233FDD8}"/>
                  </a:ext>
                </a:extLst>
              </p:cNvPr>
              <p:cNvSpPr/>
              <p:nvPr/>
            </p:nvSpPr>
            <p:spPr>
              <a:xfrm>
                <a:off x="12545341" y="1135893"/>
                <a:ext cx="35391" cy="50811"/>
              </a:xfrm>
              <a:custGeom>
                <a:avLst/>
                <a:gdLst>
                  <a:gd name="connsiteX0" fmla="*/ 18327 w 35391"/>
                  <a:gd name="connsiteY0" fmla="*/ 50811 h 50811"/>
                  <a:gd name="connsiteX1" fmla="*/ 8848 w 35391"/>
                  <a:gd name="connsiteY1" fmla="*/ 48915 h 50811"/>
                  <a:gd name="connsiteX2" fmla="*/ 2402 w 35391"/>
                  <a:gd name="connsiteY2" fmla="*/ 43607 h 50811"/>
                  <a:gd name="connsiteX3" fmla="*/ 0 w 35391"/>
                  <a:gd name="connsiteY3" fmla="*/ 35138 h 50811"/>
                  <a:gd name="connsiteX4" fmla="*/ 9480 w 35391"/>
                  <a:gd name="connsiteY4" fmla="*/ 35138 h 50811"/>
                  <a:gd name="connsiteX5" fmla="*/ 12008 w 35391"/>
                  <a:gd name="connsiteY5" fmla="*/ 40952 h 50811"/>
                  <a:gd name="connsiteX6" fmla="*/ 18454 w 35391"/>
                  <a:gd name="connsiteY6" fmla="*/ 43228 h 50811"/>
                  <a:gd name="connsiteX7" fmla="*/ 24142 w 35391"/>
                  <a:gd name="connsiteY7" fmla="*/ 41458 h 50811"/>
                  <a:gd name="connsiteX8" fmla="*/ 26290 w 35391"/>
                  <a:gd name="connsiteY8" fmla="*/ 36908 h 50811"/>
                  <a:gd name="connsiteX9" fmla="*/ 24395 w 35391"/>
                  <a:gd name="connsiteY9" fmla="*/ 32231 h 50811"/>
                  <a:gd name="connsiteX10" fmla="*/ 19465 w 35391"/>
                  <a:gd name="connsiteY10" fmla="*/ 29450 h 50811"/>
                  <a:gd name="connsiteX11" fmla="*/ 12892 w 35391"/>
                  <a:gd name="connsiteY11" fmla="*/ 27175 h 50811"/>
                  <a:gd name="connsiteX12" fmla="*/ 4297 w 35391"/>
                  <a:gd name="connsiteY12" fmla="*/ 22119 h 50811"/>
                  <a:gd name="connsiteX13" fmla="*/ 1390 w 35391"/>
                  <a:gd name="connsiteY13" fmla="*/ 13904 h 50811"/>
                  <a:gd name="connsiteX14" fmla="*/ 3413 w 35391"/>
                  <a:gd name="connsiteY14" fmla="*/ 6446 h 50811"/>
                  <a:gd name="connsiteX15" fmla="*/ 9227 w 35391"/>
                  <a:gd name="connsiteY15" fmla="*/ 1643 h 50811"/>
                  <a:gd name="connsiteX16" fmla="*/ 17696 w 35391"/>
                  <a:gd name="connsiteY16" fmla="*/ 0 h 50811"/>
                  <a:gd name="connsiteX17" fmla="*/ 26290 w 35391"/>
                  <a:gd name="connsiteY17" fmla="*/ 1770 h 50811"/>
                  <a:gd name="connsiteX18" fmla="*/ 32105 w 35391"/>
                  <a:gd name="connsiteY18" fmla="*/ 6699 h 50811"/>
                  <a:gd name="connsiteX19" fmla="*/ 34380 w 35391"/>
                  <a:gd name="connsiteY19" fmla="*/ 14156 h 50811"/>
                  <a:gd name="connsiteX20" fmla="*/ 24774 w 35391"/>
                  <a:gd name="connsiteY20" fmla="*/ 14156 h 50811"/>
                  <a:gd name="connsiteX21" fmla="*/ 22751 w 35391"/>
                  <a:gd name="connsiteY21" fmla="*/ 9606 h 50811"/>
                  <a:gd name="connsiteX22" fmla="*/ 17443 w 35391"/>
                  <a:gd name="connsiteY22" fmla="*/ 7584 h 50811"/>
                  <a:gd name="connsiteX23" fmla="*/ 12513 w 35391"/>
                  <a:gd name="connsiteY23" fmla="*/ 8974 h 50811"/>
                  <a:gd name="connsiteX24" fmla="*/ 10491 w 35391"/>
                  <a:gd name="connsiteY24" fmla="*/ 13398 h 50811"/>
                  <a:gd name="connsiteX25" fmla="*/ 12008 w 35391"/>
                  <a:gd name="connsiteY25" fmla="*/ 17316 h 50811"/>
                  <a:gd name="connsiteX26" fmla="*/ 16179 w 35391"/>
                  <a:gd name="connsiteY26" fmla="*/ 19718 h 50811"/>
                  <a:gd name="connsiteX27" fmla="*/ 22246 w 35391"/>
                  <a:gd name="connsiteY27" fmla="*/ 21867 h 50811"/>
                  <a:gd name="connsiteX28" fmla="*/ 28818 w 35391"/>
                  <a:gd name="connsiteY28" fmla="*/ 24774 h 50811"/>
                  <a:gd name="connsiteX29" fmla="*/ 33621 w 35391"/>
                  <a:gd name="connsiteY29" fmla="*/ 29198 h 50811"/>
                  <a:gd name="connsiteX30" fmla="*/ 35391 w 35391"/>
                  <a:gd name="connsiteY30" fmla="*/ 36276 h 50811"/>
                  <a:gd name="connsiteX31" fmla="*/ 33495 w 35391"/>
                  <a:gd name="connsiteY31" fmla="*/ 43354 h 50811"/>
                  <a:gd name="connsiteX32" fmla="*/ 27681 w 35391"/>
                  <a:gd name="connsiteY32" fmla="*/ 48663 h 50811"/>
                  <a:gd name="connsiteX33" fmla="*/ 18201 w 35391"/>
                  <a:gd name="connsiteY33" fmla="*/ 50685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1" h="50811">
                    <a:moveTo>
                      <a:pt x="18327" y="50811"/>
                    </a:moveTo>
                    <a:cubicBezTo>
                      <a:pt x="14788" y="50811"/>
                      <a:pt x="11628" y="50179"/>
                      <a:pt x="8848" y="48915"/>
                    </a:cubicBezTo>
                    <a:cubicBezTo>
                      <a:pt x="6067" y="47652"/>
                      <a:pt x="3918" y="45882"/>
                      <a:pt x="2402" y="43607"/>
                    </a:cubicBezTo>
                    <a:cubicBezTo>
                      <a:pt x="885" y="41332"/>
                      <a:pt x="0" y="38551"/>
                      <a:pt x="0" y="35138"/>
                    </a:cubicBezTo>
                    <a:lnTo>
                      <a:pt x="9480" y="35138"/>
                    </a:lnTo>
                    <a:cubicBezTo>
                      <a:pt x="9480" y="37413"/>
                      <a:pt x="10365" y="39309"/>
                      <a:pt x="12008" y="40952"/>
                    </a:cubicBezTo>
                    <a:cubicBezTo>
                      <a:pt x="13524" y="42469"/>
                      <a:pt x="15673" y="43228"/>
                      <a:pt x="18454" y="43228"/>
                    </a:cubicBezTo>
                    <a:cubicBezTo>
                      <a:pt x="20855" y="43228"/>
                      <a:pt x="22751" y="42596"/>
                      <a:pt x="24142" y="41458"/>
                    </a:cubicBezTo>
                    <a:cubicBezTo>
                      <a:pt x="25532" y="40321"/>
                      <a:pt x="26290" y="38804"/>
                      <a:pt x="26290" y="36908"/>
                    </a:cubicBezTo>
                    <a:cubicBezTo>
                      <a:pt x="26290" y="34885"/>
                      <a:pt x="25658" y="33369"/>
                      <a:pt x="24395" y="32231"/>
                    </a:cubicBezTo>
                    <a:cubicBezTo>
                      <a:pt x="23131" y="31094"/>
                      <a:pt x="21487" y="30209"/>
                      <a:pt x="19465" y="29450"/>
                    </a:cubicBezTo>
                    <a:cubicBezTo>
                      <a:pt x="17443" y="28692"/>
                      <a:pt x="15168" y="28060"/>
                      <a:pt x="12892" y="27175"/>
                    </a:cubicBezTo>
                    <a:cubicBezTo>
                      <a:pt x="9101" y="25911"/>
                      <a:pt x="6193" y="24268"/>
                      <a:pt x="4297" y="22119"/>
                    </a:cubicBezTo>
                    <a:cubicBezTo>
                      <a:pt x="2275" y="20097"/>
                      <a:pt x="1390" y="17316"/>
                      <a:pt x="1390" y="13904"/>
                    </a:cubicBezTo>
                    <a:cubicBezTo>
                      <a:pt x="1390" y="10997"/>
                      <a:pt x="2022" y="8595"/>
                      <a:pt x="3413" y="6446"/>
                    </a:cubicBezTo>
                    <a:cubicBezTo>
                      <a:pt x="4803" y="4424"/>
                      <a:pt x="6825" y="2781"/>
                      <a:pt x="9227" y="1643"/>
                    </a:cubicBezTo>
                    <a:cubicBezTo>
                      <a:pt x="11628" y="506"/>
                      <a:pt x="14536" y="0"/>
                      <a:pt x="17696" y="0"/>
                    </a:cubicBezTo>
                    <a:cubicBezTo>
                      <a:pt x="20855" y="0"/>
                      <a:pt x="23889" y="632"/>
                      <a:pt x="26290" y="1770"/>
                    </a:cubicBezTo>
                    <a:cubicBezTo>
                      <a:pt x="28818" y="2907"/>
                      <a:pt x="30714" y="4550"/>
                      <a:pt x="32105" y="6699"/>
                    </a:cubicBezTo>
                    <a:cubicBezTo>
                      <a:pt x="33495" y="8848"/>
                      <a:pt x="34253" y="11249"/>
                      <a:pt x="34380" y="14156"/>
                    </a:cubicBezTo>
                    <a:lnTo>
                      <a:pt x="24774" y="14156"/>
                    </a:lnTo>
                    <a:cubicBezTo>
                      <a:pt x="24774" y="12387"/>
                      <a:pt x="24015" y="10870"/>
                      <a:pt x="22751" y="9606"/>
                    </a:cubicBezTo>
                    <a:cubicBezTo>
                      <a:pt x="21487" y="8342"/>
                      <a:pt x="19718" y="7584"/>
                      <a:pt x="17443" y="7584"/>
                    </a:cubicBezTo>
                    <a:cubicBezTo>
                      <a:pt x="15547" y="7584"/>
                      <a:pt x="13904" y="7963"/>
                      <a:pt x="12513" y="8974"/>
                    </a:cubicBezTo>
                    <a:cubicBezTo>
                      <a:pt x="11249" y="9985"/>
                      <a:pt x="10491" y="11376"/>
                      <a:pt x="10491" y="13398"/>
                    </a:cubicBezTo>
                    <a:cubicBezTo>
                      <a:pt x="10491" y="15041"/>
                      <a:pt x="10997" y="16305"/>
                      <a:pt x="12008" y="17316"/>
                    </a:cubicBezTo>
                    <a:cubicBezTo>
                      <a:pt x="13019" y="18327"/>
                      <a:pt x="14409" y="19086"/>
                      <a:pt x="16179" y="19718"/>
                    </a:cubicBezTo>
                    <a:cubicBezTo>
                      <a:pt x="17948" y="20350"/>
                      <a:pt x="19971" y="21108"/>
                      <a:pt x="22246" y="21867"/>
                    </a:cubicBezTo>
                    <a:cubicBezTo>
                      <a:pt x="24647" y="22751"/>
                      <a:pt x="26922" y="23636"/>
                      <a:pt x="28818" y="24774"/>
                    </a:cubicBezTo>
                    <a:cubicBezTo>
                      <a:pt x="30841" y="25911"/>
                      <a:pt x="32484" y="27302"/>
                      <a:pt x="33621" y="29198"/>
                    </a:cubicBezTo>
                    <a:cubicBezTo>
                      <a:pt x="34885" y="31094"/>
                      <a:pt x="35391" y="33369"/>
                      <a:pt x="35391" y="36276"/>
                    </a:cubicBezTo>
                    <a:cubicBezTo>
                      <a:pt x="35391" y="38804"/>
                      <a:pt x="34759" y="41205"/>
                      <a:pt x="33495" y="43354"/>
                    </a:cubicBezTo>
                    <a:cubicBezTo>
                      <a:pt x="32231" y="45503"/>
                      <a:pt x="30209" y="47272"/>
                      <a:pt x="27681" y="48663"/>
                    </a:cubicBezTo>
                    <a:cubicBezTo>
                      <a:pt x="25153" y="50053"/>
                      <a:pt x="21993" y="50685"/>
                      <a:pt x="18201" y="50685"/>
                    </a:cubicBezTo>
                  </a:path>
                </a:pathLst>
              </a:custGeom>
              <a:grpFill/>
              <a:ln w="12519" cap="flat">
                <a:noFill/>
                <a:prstDash val="solid"/>
                <a:miter/>
              </a:ln>
            </p:spPr>
            <p:txBody>
              <a:bodyPr rtlCol="0" anchor="ctr"/>
              <a:lstStyle/>
              <a:p>
                <a:endParaRPr lang="de-DE" b="1"/>
              </a:p>
            </p:txBody>
          </p:sp>
          <p:sp>
            <p:nvSpPr>
              <p:cNvPr id="33" name="Freihandform: Form 32">
                <a:extLst>
                  <a:ext uri="{FF2B5EF4-FFF2-40B4-BE49-F238E27FC236}">
                    <a16:creationId xmlns:a16="http://schemas.microsoft.com/office/drawing/2014/main" id="{3206E094-56F6-63C4-5C55-EC30D39EA0AF}"/>
                  </a:ext>
                </a:extLst>
              </p:cNvPr>
              <p:cNvSpPr/>
              <p:nvPr/>
            </p:nvSpPr>
            <p:spPr>
              <a:xfrm>
                <a:off x="12595015" y="1136146"/>
                <a:ext cx="45123" cy="50558"/>
              </a:xfrm>
              <a:custGeom>
                <a:avLst/>
                <a:gdLst>
                  <a:gd name="connsiteX0" fmla="*/ 23763 w 45123"/>
                  <a:gd name="connsiteY0" fmla="*/ 50559 h 50558"/>
                  <a:gd name="connsiteX1" fmla="*/ 11123 w 45123"/>
                  <a:gd name="connsiteY1" fmla="*/ 47399 h 50558"/>
                  <a:gd name="connsiteX2" fmla="*/ 2907 w 45123"/>
                  <a:gd name="connsiteY2" fmla="*/ 38551 h 50558"/>
                  <a:gd name="connsiteX3" fmla="*/ 0 w 45123"/>
                  <a:gd name="connsiteY3" fmla="*/ 25406 h 50558"/>
                  <a:gd name="connsiteX4" fmla="*/ 2907 w 45123"/>
                  <a:gd name="connsiteY4" fmla="*/ 12134 h 50558"/>
                  <a:gd name="connsiteX5" fmla="*/ 11123 w 45123"/>
                  <a:gd name="connsiteY5" fmla="*/ 3160 h 50558"/>
                  <a:gd name="connsiteX6" fmla="*/ 23763 w 45123"/>
                  <a:gd name="connsiteY6" fmla="*/ 0 h 50558"/>
                  <a:gd name="connsiteX7" fmla="*/ 38172 w 45123"/>
                  <a:gd name="connsiteY7" fmla="*/ 4297 h 50558"/>
                  <a:gd name="connsiteX8" fmla="*/ 45124 w 45123"/>
                  <a:gd name="connsiteY8" fmla="*/ 16558 h 50558"/>
                  <a:gd name="connsiteX9" fmla="*/ 35265 w 45123"/>
                  <a:gd name="connsiteY9" fmla="*/ 16558 h 50558"/>
                  <a:gd name="connsiteX10" fmla="*/ 31346 w 45123"/>
                  <a:gd name="connsiteY10" fmla="*/ 10365 h 50558"/>
                  <a:gd name="connsiteX11" fmla="*/ 23510 w 45123"/>
                  <a:gd name="connsiteY11" fmla="*/ 8089 h 50558"/>
                  <a:gd name="connsiteX12" fmla="*/ 12892 w 45123"/>
                  <a:gd name="connsiteY12" fmla="*/ 12640 h 50558"/>
                  <a:gd name="connsiteX13" fmla="*/ 9101 w 45123"/>
                  <a:gd name="connsiteY13" fmla="*/ 25279 h 50558"/>
                  <a:gd name="connsiteX14" fmla="*/ 12892 w 45123"/>
                  <a:gd name="connsiteY14" fmla="*/ 37919 h 50558"/>
                  <a:gd name="connsiteX15" fmla="*/ 23510 w 45123"/>
                  <a:gd name="connsiteY15" fmla="*/ 42469 h 50558"/>
                  <a:gd name="connsiteX16" fmla="*/ 31346 w 45123"/>
                  <a:gd name="connsiteY16" fmla="*/ 40320 h 50558"/>
                  <a:gd name="connsiteX17" fmla="*/ 35265 w 45123"/>
                  <a:gd name="connsiteY17" fmla="*/ 34380 h 50558"/>
                  <a:gd name="connsiteX18" fmla="*/ 45124 w 45123"/>
                  <a:gd name="connsiteY18" fmla="*/ 34380 h 50558"/>
                  <a:gd name="connsiteX19" fmla="*/ 38172 w 45123"/>
                  <a:gd name="connsiteY19" fmla="*/ 46135 h 50558"/>
                  <a:gd name="connsiteX20" fmla="*/ 23763 w 45123"/>
                  <a:gd name="connsiteY20" fmla="*/ 50432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3" h="50558">
                    <a:moveTo>
                      <a:pt x="23763" y="50559"/>
                    </a:moveTo>
                    <a:cubicBezTo>
                      <a:pt x="18833" y="50559"/>
                      <a:pt x="14536" y="49547"/>
                      <a:pt x="11123" y="47399"/>
                    </a:cubicBezTo>
                    <a:cubicBezTo>
                      <a:pt x="7584" y="45250"/>
                      <a:pt x="4803" y="42343"/>
                      <a:pt x="2907" y="38551"/>
                    </a:cubicBezTo>
                    <a:cubicBezTo>
                      <a:pt x="1011" y="34759"/>
                      <a:pt x="0" y="30335"/>
                      <a:pt x="0" y="25406"/>
                    </a:cubicBezTo>
                    <a:cubicBezTo>
                      <a:pt x="0" y="20476"/>
                      <a:pt x="1011" y="16052"/>
                      <a:pt x="2907" y="12134"/>
                    </a:cubicBezTo>
                    <a:cubicBezTo>
                      <a:pt x="4803" y="8342"/>
                      <a:pt x="7584" y="5309"/>
                      <a:pt x="11123" y="3160"/>
                    </a:cubicBezTo>
                    <a:cubicBezTo>
                      <a:pt x="14662" y="1011"/>
                      <a:pt x="18833" y="0"/>
                      <a:pt x="23763" y="0"/>
                    </a:cubicBezTo>
                    <a:cubicBezTo>
                      <a:pt x="29577" y="0"/>
                      <a:pt x="34380" y="1390"/>
                      <a:pt x="38172" y="4297"/>
                    </a:cubicBezTo>
                    <a:cubicBezTo>
                      <a:pt x="41964" y="7205"/>
                      <a:pt x="44239" y="11249"/>
                      <a:pt x="45124" y="16558"/>
                    </a:cubicBezTo>
                    <a:lnTo>
                      <a:pt x="35265" y="16558"/>
                    </a:lnTo>
                    <a:cubicBezTo>
                      <a:pt x="34633" y="13904"/>
                      <a:pt x="33369" y="11881"/>
                      <a:pt x="31346" y="10365"/>
                    </a:cubicBezTo>
                    <a:cubicBezTo>
                      <a:pt x="29324" y="8848"/>
                      <a:pt x="26796" y="8089"/>
                      <a:pt x="23510" y="8089"/>
                    </a:cubicBezTo>
                    <a:cubicBezTo>
                      <a:pt x="18959" y="8089"/>
                      <a:pt x="15420" y="9606"/>
                      <a:pt x="12892" y="12640"/>
                    </a:cubicBezTo>
                    <a:cubicBezTo>
                      <a:pt x="10365" y="15673"/>
                      <a:pt x="9101" y="19971"/>
                      <a:pt x="9101" y="25279"/>
                    </a:cubicBezTo>
                    <a:cubicBezTo>
                      <a:pt x="9101" y="30588"/>
                      <a:pt x="10365" y="34885"/>
                      <a:pt x="12892" y="37919"/>
                    </a:cubicBezTo>
                    <a:cubicBezTo>
                      <a:pt x="15420" y="40952"/>
                      <a:pt x="18959" y="42469"/>
                      <a:pt x="23510" y="42469"/>
                    </a:cubicBezTo>
                    <a:cubicBezTo>
                      <a:pt x="26796" y="42469"/>
                      <a:pt x="29450" y="41711"/>
                      <a:pt x="31346" y="40320"/>
                    </a:cubicBezTo>
                    <a:cubicBezTo>
                      <a:pt x="33369" y="38930"/>
                      <a:pt x="34633" y="36908"/>
                      <a:pt x="35265" y="34380"/>
                    </a:cubicBezTo>
                    <a:lnTo>
                      <a:pt x="45124" y="34380"/>
                    </a:lnTo>
                    <a:cubicBezTo>
                      <a:pt x="44239" y="39436"/>
                      <a:pt x="41837" y="43354"/>
                      <a:pt x="38172" y="46135"/>
                    </a:cubicBezTo>
                    <a:cubicBezTo>
                      <a:pt x="34380" y="48915"/>
                      <a:pt x="29577" y="50432"/>
                      <a:pt x="23763" y="50432"/>
                    </a:cubicBezTo>
                  </a:path>
                </a:pathLst>
              </a:custGeom>
              <a:grpFill/>
              <a:ln w="12519" cap="flat">
                <a:noFill/>
                <a:prstDash val="solid"/>
                <a:miter/>
              </a:ln>
            </p:spPr>
            <p:txBody>
              <a:bodyPr rtlCol="0" anchor="ctr"/>
              <a:lstStyle/>
              <a:p>
                <a:endParaRPr lang="de-DE" b="1"/>
              </a:p>
            </p:txBody>
          </p:sp>
          <p:sp>
            <p:nvSpPr>
              <p:cNvPr id="34" name="Freihandform: Form 33">
                <a:extLst>
                  <a:ext uri="{FF2B5EF4-FFF2-40B4-BE49-F238E27FC236}">
                    <a16:creationId xmlns:a16="http://schemas.microsoft.com/office/drawing/2014/main" id="{C8D63CA4-9C76-CA41-F3C1-C3CC781DCE29}"/>
                  </a:ext>
                </a:extLst>
              </p:cNvPr>
              <p:cNvSpPr/>
              <p:nvPr/>
            </p:nvSpPr>
            <p:spPr>
              <a:xfrm>
                <a:off x="12656190" y="1137030"/>
                <a:ext cx="39814" cy="48915"/>
              </a:xfrm>
              <a:custGeom>
                <a:avLst/>
                <a:gdLst>
                  <a:gd name="connsiteX0" fmla="*/ 0 w 39814"/>
                  <a:gd name="connsiteY0" fmla="*/ 48915 h 48915"/>
                  <a:gd name="connsiteX1" fmla="*/ 0 w 39814"/>
                  <a:gd name="connsiteY1" fmla="*/ 0 h 48915"/>
                  <a:gd name="connsiteX2" fmla="*/ 8974 w 39814"/>
                  <a:gd name="connsiteY2" fmla="*/ 0 h 48915"/>
                  <a:gd name="connsiteX3" fmla="*/ 8974 w 39814"/>
                  <a:gd name="connsiteY3" fmla="*/ 20350 h 48915"/>
                  <a:gd name="connsiteX4" fmla="*/ 30841 w 39814"/>
                  <a:gd name="connsiteY4" fmla="*/ 20350 h 48915"/>
                  <a:gd name="connsiteX5" fmla="*/ 30841 w 39814"/>
                  <a:gd name="connsiteY5" fmla="*/ 0 h 48915"/>
                  <a:gd name="connsiteX6" fmla="*/ 39815 w 39814"/>
                  <a:gd name="connsiteY6" fmla="*/ 0 h 48915"/>
                  <a:gd name="connsiteX7" fmla="*/ 39815 w 39814"/>
                  <a:gd name="connsiteY7" fmla="*/ 48915 h 48915"/>
                  <a:gd name="connsiteX8" fmla="*/ 30841 w 39814"/>
                  <a:gd name="connsiteY8" fmla="*/ 48915 h 48915"/>
                  <a:gd name="connsiteX9" fmla="*/ 30841 w 39814"/>
                  <a:gd name="connsiteY9" fmla="*/ 27554 h 48915"/>
                  <a:gd name="connsiteX10" fmla="*/ 8974 w 39814"/>
                  <a:gd name="connsiteY10" fmla="*/ 27554 h 48915"/>
                  <a:gd name="connsiteX11" fmla="*/ 8974 w 39814"/>
                  <a:gd name="connsiteY11" fmla="*/ 48915 h 48915"/>
                  <a:gd name="connsiteX12" fmla="*/ 0 w 39814"/>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14" h="48915">
                    <a:moveTo>
                      <a:pt x="0" y="48915"/>
                    </a:moveTo>
                    <a:lnTo>
                      <a:pt x="0" y="0"/>
                    </a:lnTo>
                    <a:lnTo>
                      <a:pt x="8974" y="0"/>
                    </a:lnTo>
                    <a:lnTo>
                      <a:pt x="8974" y="20350"/>
                    </a:lnTo>
                    <a:lnTo>
                      <a:pt x="30841" y="20350"/>
                    </a:lnTo>
                    <a:lnTo>
                      <a:pt x="30841" y="0"/>
                    </a:lnTo>
                    <a:lnTo>
                      <a:pt x="39815" y="0"/>
                    </a:lnTo>
                    <a:lnTo>
                      <a:pt x="39815" y="48915"/>
                    </a:lnTo>
                    <a:lnTo>
                      <a:pt x="30841" y="48915"/>
                    </a:lnTo>
                    <a:lnTo>
                      <a:pt x="30841" y="27554"/>
                    </a:lnTo>
                    <a:lnTo>
                      <a:pt x="8974" y="27554"/>
                    </a:lnTo>
                    <a:lnTo>
                      <a:pt x="8974" y="48915"/>
                    </a:lnTo>
                    <a:lnTo>
                      <a:pt x="0" y="48915"/>
                    </a:lnTo>
                    <a:close/>
                  </a:path>
                </a:pathLst>
              </a:custGeom>
              <a:grpFill/>
              <a:ln w="12519" cap="flat">
                <a:noFill/>
                <a:prstDash val="solid"/>
                <a:miter/>
              </a:ln>
            </p:spPr>
            <p:txBody>
              <a:bodyPr rtlCol="0" anchor="ctr"/>
              <a:lstStyle/>
              <a:p>
                <a:endParaRPr lang="de-DE" b="1"/>
              </a:p>
            </p:txBody>
          </p:sp>
          <p:sp>
            <p:nvSpPr>
              <p:cNvPr id="35" name="Freihandform: Form 34">
                <a:extLst>
                  <a:ext uri="{FF2B5EF4-FFF2-40B4-BE49-F238E27FC236}">
                    <a16:creationId xmlns:a16="http://schemas.microsoft.com/office/drawing/2014/main" id="{3CA742C9-61AB-9367-625C-85143DF4B170}"/>
                  </a:ext>
                </a:extLst>
              </p:cNvPr>
              <p:cNvSpPr/>
              <p:nvPr/>
            </p:nvSpPr>
            <p:spPr>
              <a:xfrm>
                <a:off x="12713448"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b="1"/>
              </a:p>
            </p:txBody>
          </p:sp>
          <p:sp>
            <p:nvSpPr>
              <p:cNvPr id="36" name="Freihandform: Form 35">
                <a:extLst>
                  <a:ext uri="{FF2B5EF4-FFF2-40B4-BE49-F238E27FC236}">
                    <a16:creationId xmlns:a16="http://schemas.microsoft.com/office/drawing/2014/main" id="{59ABDC74-04AF-FC87-5D0A-AAA2F61261CC}"/>
                  </a:ext>
                </a:extLst>
              </p:cNvPr>
              <p:cNvSpPr/>
              <p:nvPr/>
            </p:nvSpPr>
            <p:spPr>
              <a:xfrm>
                <a:off x="12783345" y="1137030"/>
                <a:ext cx="45755" cy="48915"/>
              </a:xfrm>
              <a:custGeom>
                <a:avLst/>
                <a:gdLst>
                  <a:gd name="connsiteX0" fmla="*/ 0 w 45755"/>
                  <a:gd name="connsiteY0" fmla="*/ 48915 h 48915"/>
                  <a:gd name="connsiteX1" fmla="*/ 17948 w 45755"/>
                  <a:gd name="connsiteY1" fmla="*/ 0 h 48915"/>
                  <a:gd name="connsiteX2" fmla="*/ 27934 w 45755"/>
                  <a:gd name="connsiteY2" fmla="*/ 0 h 48915"/>
                  <a:gd name="connsiteX3" fmla="*/ 45756 w 45755"/>
                  <a:gd name="connsiteY3" fmla="*/ 48915 h 48915"/>
                  <a:gd name="connsiteX4" fmla="*/ 36276 w 45755"/>
                  <a:gd name="connsiteY4" fmla="*/ 48915 h 48915"/>
                  <a:gd name="connsiteX5" fmla="*/ 32358 w 45755"/>
                  <a:gd name="connsiteY5" fmla="*/ 37666 h 48915"/>
                  <a:gd name="connsiteX6" fmla="*/ 13272 w 45755"/>
                  <a:gd name="connsiteY6" fmla="*/ 37666 h 48915"/>
                  <a:gd name="connsiteX7" fmla="*/ 9353 w 45755"/>
                  <a:gd name="connsiteY7" fmla="*/ 48915 h 48915"/>
                  <a:gd name="connsiteX8" fmla="*/ 0 w 45755"/>
                  <a:gd name="connsiteY8" fmla="*/ 48915 h 48915"/>
                  <a:gd name="connsiteX9" fmla="*/ 15800 w 45755"/>
                  <a:gd name="connsiteY9" fmla="*/ 30588 h 48915"/>
                  <a:gd name="connsiteX10" fmla="*/ 29956 w 45755"/>
                  <a:gd name="connsiteY10" fmla="*/ 30588 h 48915"/>
                  <a:gd name="connsiteX11" fmla="*/ 22878 w 45755"/>
                  <a:gd name="connsiteY11" fmla="*/ 10238 h 48915"/>
                  <a:gd name="connsiteX12" fmla="*/ 15800 w 45755"/>
                  <a:gd name="connsiteY12" fmla="*/ 30588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0" y="48915"/>
                    </a:moveTo>
                    <a:lnTo>
                      <a:pt x="17948" y="0"/>
                    </a:lnTo>
                    <a:lnTo>
                      <a:pt x="27934" y="0"/>
                    </a:lnTo>
                    <a:lnTo>
                      <a:pt x="45756" y="48915"/>
                    </a:lnTo>
                    <a:lnTo>
                      <a:pt x="36276" y="48915"/>
                    </a:lnTo>
                    <a:lnTo>
                      <a:pt x="32358" y="37666"/>
                    </a:lnTo>
                    <a:lnTo>
                      <a:pt x="13272" y="37666"/>
                    </a:lnTo>
                    <a:lnTo>
                      <a:pt x="9353" y="48915"/>
                    </a:lnTo>
                    <a:lnTo>
                      <a:pt x="0" y="48915"/>
                    </a:lnTo>
                    <a:close/>
                    <a:moveTo>
                      <a:pt x="15800" y="30588"/>
                    </a:moveTo>
                    <a:lnTo>
                      <a:pt x="29956" y="30588"/>
                    </a:lnTo>
                    <a:lnTo>
                      <a:pt x="22878" y="10238"/>
                    </a:lnTo>
                    <a:lnTo>
                      <a:pt x="15800" y="30588"/>
                    </a:lnTo>
                    <a:close/>
                  </a:path>
                </a:pathLst>
              </a:custGeom>
              <a:grpFill/>
              <a:ln w="12519" cap="flat">
                <a:noFill/>
                <a:prstDash val="solid"/>
                <a:miter/>
              </a:ln>
            </p:spPr>
            <p:txBody>
              <a:bodyPr rtlCol="0" anchor="ctr"/>
              <a:lstStyle/>
              <a:p>
                <a:endParaRPr lang="de-DE" b="1"/>
              </a:p>
            </p:txBody>
          </p:sp>
          <p:sp>
            <p:nvSpPr>
              <p:cNvPr id="37" name="Freihandform: Form 36">
                <a:extLst>
                  <a:ext uri="{FF2B5EF4-FFF2-40B4-BE49-F238E27FC236}">
                    <a16:creationId xmlns:a16="http://schemas.microsoft.com/office/drawing/2014/main" id="{EE86FF99-2596-FA46-2B8A-0EF1C800FF6A}"/>
                  </a:ext>
                </a:extLst>
              </p:cNvPr>
              <p:cNvSpPr/>
              <p:nvPr/>
            </p:nvSpPr>
            <p:spPr>
              <a:xfrm>
                <a:off x="12839086" y="1136146"/>
                <a:ext cx="46640" cy="50684"/>
              </a:xfrm>
              <a:custGeom>
                <a:avLst/>
                <a:gdLst>
                  <a:gd name="connsiteX0" fmla="*/ 23004 w 46640"/>
                  <a:gd name="connsiteY0" fmla="*/ 50559 h 50684"/>
                  <a:gd name="connsiteX1" fmla="*/ 10870 w 46640"/>
                  <a:gd name="connsiteY1" fmla="*/ 47399 h 50684"/>
                  <a:gd name="connsiteX2" fmla="*/ 2907 w 46640"/>
                  <a:gd name="connsiteY2" fmla="*/ 38677 h 50684"/>
                  <a:gd name="connsiteX3" fmla="*/ 0 w 46640"/>
                  <a:gd name="connsiteY3" fmla="*/ 25532 h 50684"/>
                  <a:gd name="connsiteX4" fmla="*/ 2907 w 46640"/>
                  <a:gd name="connsiteY4" fmla="*/ 12260 h 50684"/>
                  <a:gd name="connsiteX5" fmla="*/ 11376 w 46640"/>
                  <a:gd name="connsiteY5" fmla="*/ 3286 h 50684"/>
                  <a:gd name="connsiteX6" fmla="*/ 24395 w 46640"/>
                  <a:gd name="connsiteY6" fmla="*/ 0 h 50684"/>
                  <a:gd name="connsiteX7" fmla="*/ 38677 w 46640"/>
                  <a:gd name="connsiteY7" fmla="*/ 4171 h 50684"/>
                  <a:gd name="connsiteX8" fmla="*/ 46008 w 46640"/>
                  <a:gd name="connsiteY8" fmla="*/ 15547 h 50684"/>
                  <a:gd name="connsiteX9" fmla="*/ 36023 w 46640"/>
                  <a:gd name="connsiteY9" fmla="*/ 15547 h 50684"/>
                  <a:gd name="connsiteX10" fmla="*/ 31978 w 46640"/>
                  <a:gd name="connsiteY10" fmla="*/ 10238 h 50684"/>
                  <a:gd name="connsiteX11" fmla="*/ 24395 w 46640"/>
                  <a:gd name="connsiteY11" fmla="*/ 8342 h 50684"/>
                  <a:gd name="connsiteX12" fmla="*/ 13019 w 46640"/>
                  <a:gd name="connsiteY12" fmla="*/ 13019 h 50684"/>
                  <a:gd name="connsiteX13" fmla="*/ 8974 w 46640"/>
                  <a:gd name="connsiteY13" fmla="*/ 25785 h 50684"/>
                  <a:gd name="connsiteX14" fmla="*/ 12892 w 46640"/>
                  <a:gd name="connsiteY14" fmla="*/ 38298 h 50684"/>
                  <a:gd name="connsiteX15" fmla="*/ 23636 w 46640"/>
                  <a:gd name="connsiteY15" fmla="*/ 42722 h 50684"/>
                  <a:gd name="connsiteX16" fmla="*/ 33621 w 46640"/>
                  <a:gd name="connsiteY16" fmla="*/ 39183 h 50684"/>
                  <a:gd name="connsiteX17" fmla="*/ 37666 w 46640"/>
                  <a:gd name="connsiteY17" fmla="*/ 29703 h 50684"/>
                  <a:gd name="connsiteX18" fmla="*/ 25279 w 46640"/>
                  <a:gd name="connsiteY18" fmla="*/ 29703 h 50684"/>
                  <a:gd name="connsiteX19" fmla="*/ 25279 w 46640"/>
                  <a:gd name="connsiteY19" fmla="*/ 23004 h 50684"/>
                  <a:gd name="connsiteX20" fmla="*/ 46640 w 46640"/>
                  <a:gd name="connsiteY20" fmla="*/ 23004 h 50684"/>
                  <a:gd name="connsiteX21" fmla="*/ 46640 w 46640"/>
                  <a:gd name="connsiteY21" fmla="*/ 49927 h 50684"/>
                  <a:gd name="connsiteX22" fmla="*/ 38425 w 46640"/>
                  <a:gd name="connsiteY22" fmla="*/ 49927 h 50684"/>
                  <a:gd name="connsiteX23" fmla="*/ 37666 w 46640"/>
                  <a:gd name="connsiteY23" fmla="*/ 43480 h 50684"/>
                  <a:gd name="connsiteX24" fmla="*/ 31726 w 46640"/>
                  <a:gd name="connsiteY24" fmla="*/ 48789 h 50684"/>
                  <a:gd name="connsiteX25" fmla="*/ 22625 w 46640"/>
                  <a:gd name="connsiteY25" fmla="*/ 50685 h 50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40" h="50684">
                    <a:moveTo>
                      <a:pt x="23004" y="50559"/>
                    </a:moveTo>
                    <a:cubicBezTo>
                      <a:pt x="18327" y="50559"/>
                      <a:pt x="14409" y="49547"/>
                      <a:pt x="10870" y="47399"/>
                    </a:cubicBezTo>
                    <a:cubicBezTo>
                      <a:pt x="7457" y="45376"/>
                      <a:pt x="4803"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673" y="9859"/>
                      <a:pt x="13019" y="13019"/>
                    </a:cubicBezTo>
                    <a:cubicBezTo>
                      <a:pt x="10365" y="16179"/>
                      <a:pt x="8974" y="20350"/>
                      <a:pt x="8974" y="25785"/>
                    </a:cubicBezTo>
                    <a:cubicBezTo>
                      <a:pt x="8974" y="31220"/>
                      <a:pt x="10238" y="35391"/>
                      <a:pt x="12892" y="38298"/>
                    </a:cubicBezTo>
                    <a:cubicBezTo>
                      <a:pt x="15547" y="41205"/>
                      <a:pt x="19086" y="42722"/>
                      <a:pt x="23636" y="42722"/>
                    </a:cubicBezTo>
                    <a:cubicBezTo>
                      <a:pt x="28186" y="42722"/>
                      <a:pt x="31346" y="41584"/>
                      <a:pt x="33621" y="39183"/>
                    </a:cubicBezTo>
                    <a:cubicBezTo>
                      <a:pt x="35897" y="36781"/>
                      <a:pt x="37287" y="33621"/>
                      <a:pt x="37666" y="29703"/>
                    </a:cubicBezTo>
                    <a:lnTo>
                      <a:pt x="25279" y="29703"/>
                    </a:lnTo>
                    <a:lnTo>
                      <a:pt x="25279" y="23004"/>
                    </a:lnTo>
                    <a:lnTo>
                      <a:pt x="46640" y="23004"/>
                    </a:lnTo>
                    <a:lnTo>
                      <a:pt x="46640" y="49927"/>
                    </a:lnTo>
                    <a:lnTo>
                      <a:pt x="38425" y="49927"/>
                    </a:lnTo>
                    <a:lnTo>
                      <a:pt x="37666" y="43480"/>
                    </a:lnTo>
                    <a:cubicBezTo>
                      <a:pt x="36149" y="45755"/>
                      <a:pt x="34127" y="47651"/>
                      <a:pt x="31726" y="48789"/>
                    </a:cubicBezTo>
                    <a:cubicBezTo>
                      <a:pt x="29324" y="50053"/>
                      <a:pt x="26290" y="50685"/>
                      <a:pt x="22625" y="50685"/>
                    </a:cubicBezTo>
                  </a:path>
                </a:pathLst>
              </a:custGeom>
              <a:grpFill/>
              <a:ln w="12519" cap="flat">
                <a:noFill/>
                <a:prstDash val="solid"/>
                <a:miter/>
              </a:ln>
            </p:spPr>
            <p:txBody>
              <a:bodyPr rtlCol="0" anchor="ctr"/>
              <a:lstStyle/>
              <a:p>
                <a:endParaRPr lang="de-DE" b="1"/>
              </a:p>
            </p:txBody>
          </p:sp>
          <p:sp>
            <p:nvSpPr>
              <p:cNvPr id="38" name="Freihandform: Form 37">
                <a:extLst>
                  <a:ext uri="{FF2B5EF4-FFF2-40B4-BE49-F238E27FC236}">
                    <a16:creationId xmlns:a16="http://schemas.microsoft.com/office/drawing/2014/main" id="{5D4E5131-CE40-55B0-43F2-D1FFCAEEBAB8}"/>
                  </a:ext>
                </a:extLst>
              </p:cNvPr>
              <p:cNvSpPr/>
              <p:nvPr/>
            </p:nvSpPr>
            <p:spPr>
              <a:xfrm>
                <a:off x="12902664" y="1137030"/>
                <a:ext cx="31978" cy="48915"/>
              </a:xfrm>
              <a:custGeom>
                <a:avLst/>
                <a:gdLst>
                  <a:gd name="connsiteX0" fmla="*/ 0 w 31978"/>
                  <a:gd name="connsiteY0" fmla="*/ 48915 h 48915"/>
                  <a:gd name="connsiteX1" fmla="*/ 0 w 31978"/>
                  <a:gd name="connsiteY1" fmla="*/ 0 h 48915"/>
                  <a:gd name="connsiteX2" fmla="*/ 31978 w 31978"/>
                  <a:gd name="connsiteY2" fmla="*/ 0 h 48915"/>
                  <a:gd name="connsiteX3" fmla="*/ 31978 w 31978"/>
                  <a:gd name="connsiteY3" fmla="*/ 7205 h 48915"/>
                  <a:gd name="connsiteX4" fmla="*/ 8974 w 31978"/>
                  <a:gd name="connsiteY4" fmla="*/ 7205 h 48915"/>
                  <a:gd name="connsiteX5" fmla="*/ 8974 w 31978"/>
                  <a:gd name="connsiteY5" fmla="*/ 20603 h 48915"/>
                  <a:gd name="connsiteX6" fmla="*/ 29830 w 31978"/>
                  <a:gd name="connsiteY6" fmla="*/ 20603 h 48915"/>
                  <a:gd name="connsiteX7" fmla="*/ 29830 w 31978"/>
                  <a:gd name="connsiteY7" fmla="*/ 27554 h 48915"/>
                  <a:gd name="connsiteX8" fmla="*/ 8974 w 31978"/>
                  <a:gd name="connsiteY8" fmla="*/ 27554 h 48915"/>
                  <a:gd name="connsiteX9" fmla="*/ 8974 w 31978"/>
                  <a:gd name="connsiteY9" fmla="*/ 41711 h 48915"/>
                  <a:gd name="connsiteX10" fmla="*/ 31978 w 31978"/>
                  <a:gd name="connsiteY10" fmla="*/ 41711 h 48915"/>
                  <a:gd name="connsiteX11" fmla="*/ 31978 w 31978"/>
                  <a:gd name="connsiteY11" fmla="*/ 48915 h 48915"/>
                  <a:gd name="connsiteX12" fmla="*/ 0 w 31978"/>
                  <a:gd name="connsiteY12"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78" h="48915">
                    <a:moveTo>
                      <a:pt x="0" y="48915"/>
                    </a:moveTo>
                    <a:lnTo>
                      <a:pt x="0" y="0"/>
                    </a:lnTo>
                    <a:lnTo>
                      <a:pt x="31978" y="0"/>
                    </a:lnTo>
                    <a:lnTo>
                      <a:pt x="31978" y="7205"/>
                    </a:lnTo>
                    <a:lnTo>
                      <a:pt x="8974" y="7205"/>
                    </a:lnTo>
                    <a:lnTo>
                      <a:pt x="8974" y="20603"/>
                    </a:lnTo>
                    <a:lnTo>
                      <a:pt x="29830" y="20603"/>
                    </a:lnTo>
                    <a:lnTo>
                      <a:pt x="29830" y="27554"/>
                    </a:lnTo>
                    <a:lnTo>
                      <a:pt x="8974" y="27554"/>
                    </a:lnTo>
                    <a:lnTo>
                      <a:pt x="8974" y="41711"/>
                    </a:lnTo>
                    <a:lnTo>
                      <a:pt x="31978" y="41711"/>
                    </a:lnTo>
                    <a:lnTo>
                      <a:pt x="31978" y="48915"/>
                    </a:lnTo>
                    <a:lnTo>
                      <a:pt x="0" y="48915"/>
                    </a:lnTo>
                    <a:close/>
                  </a:path>
                </a:pathLst>
              </a:custGeom>
              <a:grpFill/>
              <a:ln w="12519" cap="flat">
                <a:noFill/>
                <a:prstDash val="solid"/>
                <a:miter/>
              </a:ln>
            </p:spPr>
            <p:txBody>
              <a:bodyPr rtlCol="0" anchor="ctr"/>
              <a:lstStyle/>
              <a:p>
                <a:endParaRPr lang="de-DE" b="1"/>
              </a:p>
            </p:txBody>
          </p:sp>
          <p:sp>
            <p:nvSpPr>
              <p:cNvPr id="39" name="Freihandform: Form 38">
                <a:extLst>
                  <a:ext uri="{FF2B5EF4-FFF2-40B4-BE49-F238E27FC236}">
                    <a16:creationId xmlns:a16="http://schemas.microsoft.com/office/drawing/2014/main" id="{7F50118B-F61D-D02D-E66E-45065A3A4002}"/>
                  </a:ext>
                </a:extLst>
              </p:cNvPr>
              <p:cNvSpPr/>
              <p:nvPr/>
            </p:nvSpPr>
            <p:spPr>
              <a:xfrm>
                <a:off x="12951073" y="1137030"/>
                <a:ext cx="40826" cy="48915"/>
              </a:xfrm>
              <a:custGeom>
                <a:avLst/>
                <a:gdLst>
                  <a:gd name="connsiteX0" fmla="*/ 0 w 40826"/>
                  <a:gd name="connsiteY0" fmla="*/ 48915 h 48915"/>
                  <a:gd name="connsiteX1" fmla="*/ 0 w 40826"/>
                  <a:gd name="connsiteY1" fmla="*/ 0 h 48915"/>
                  <a:gd name="connsiteX2" fmla="*/ 8974 w 40826"/>
                  <a:gd name="connsiteY2" fmla="*/ 0 h 48915"/>
                  <a:gd name="connsiteX3" fmla="*/ 31852 w 40826"/>
                  <a:gd name="connsiteY3" fmla="*/ 34380 h 48915"/>
                  <a:gd name="connsiteX4" fmla="*/ 31852 w 40826"/>
                  <a:gd name="connsiteY4" fmla="*/ 0 h 48915"/>
                  <a:gd name="connsiteX5" fmla="*/ 40826 w 40826"/>
                  <a:gd name="connsiteY5" fmla="*/ 0 h 48915"/>
                  <a:gd name="connsiteX6" fmla="*/ 40826 w 40826"/>
                  <a:gd name="connsiteY6" fmla="*/ 48915 h 48915"/>
                  <a:gd name="connsiteX7" fmla="*/ 31852 w 40826"/>
                  <a:gd name="connsiteY7" fmla="*/ 48915 h 48915"/>
                  <a:gd name="connsiteX8" fmla="*/ 8974 w 40826"/>
                  <a:gd name="connsiteY8" fmla="*/ 14536 h 48915"/>
                  <a:gd name="connsiteX9" fmla="*/ 8974 w 40826"/>
                  <a:gd name="connsiteY9" fmla="*/ 48915 h 48915"/>
                  <a:gd name="connsiteX10" fmla="*/ 0 w 40826"/>
                  <a:gd name="connsiteY10"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6" h="48915">
                    <a:moveTo>
                      <a:pt x="0" y="48915"/>
                    </a:moveTo>
                    <a:lnTo>
                      <a:pt x="0" y="0"/>
                    </a:lnTo>
                    <a:lnTo>
                      <a:pt x="8974" y="0"/>
                    </a:lnTo>
                    <a:lnTo>
                      <a:pt x="31852" y="34380"/>
                    </a:lnTo>
                    <a:lnTo>
                      <a:pt x="31852" y="0"/>
                    </a:lnTo>
                    <a:lnTo>
                      <a:pt x="40826" y="0"/>
                    </a:lnTo>
                    <a:lnTo>
                      <a:pt x="40826" y="48915"/>
                    </a:lnTo>
                    <a:lnTo>
                      <a:pt x="31852" y="48915"/>
                    </a:lnTo>
                    <a:lnTo>
                      <a:pt x="8974" y="14536"/>
                    </a:lnTo>
                    <a:lnTo>
                      <a:pt x="8974" y="48915"/>
                    </a:lnTo>
                    <a:lnTo>
                      <a:pt x="0" y="48915"/>
                    </a:lnTo>
                    <a:close/>
                  </a:path>
                </a:pathLst>
              </a:custGeom>
              <a:grpFill/>
              <a:ln w="12519" cap="flat">
                <a:noFill/>
                <a:prstDash val="solid"/>
                <a:miter/>
              </a:ln>
            </p:spPr>
            <p:txBody>
              <a:bodyPr rtlCol="0" anchor="ctr"/>
              <a:lstStyle/>
              <a:p>
                <a:endParaRPr lang="de-DE" b="1"/>
              </a:p>
            </p:txBody>
          </p:sp>
          <p:sp>
            <p:nvSpPr>
              <p:cNvPr id="40" name="Freihandform: Form 39">
                <a:extLst>
                  <a:ext uri="{FF2B5EF4-FFF2-40B4-BE49-F238E27FC236}">
                    <a16:creationId xmlns:a16="http://schemas.microsoft.com/office/drawing/2014/main" id="{8D70381D-F75D-88B9-BD94-85906D19E5F0}"/>
                  </a:ext>
                </a:extLst>
              </p:cNvPr>
              <p:cNvSpPr/>
              <p:nvPr/>
            </p:nvSpPr>
            <p:spPr>
              <a:xfrm>
                <a:off x="13006561" y="1137030"/>
                <a:ext cx="37539" cy="48915"/>
              </a:xfrm>
              <a:custGeom>
                <a:avLst/>
                <a:gdLst>
                  <a:gd name="connsiteX0" fmla="*/ 14283 w 37539"/>
                  <a:gd name="connsiteY0" fmla="*/ 48915 h 48915"/>
                  <a:gd name="connsiteX1" fmla="*/ 14283 w 37539"/>
                  <a:gd name="connsiteY1" fmla="*/ 7205 h 48915"/>
                  <a:gd name="connsiteX2" fmla="*/ 0 w 37539"/>
                  <a:gd name="connsiteY2" fmla="*/ 7205 h 48915"/>
                  <a:gd name="connsiteX3" fmla="*/ 0 w 37539"/>
                  <a:gd name="connsiteY3" fmla="*/ 0 h 48915"/>
                  <a:gd name="connsiteX4" fmla="*/ 37540 w 37539"/>
                  <a:gd name="connsiteY4" fmla="*/ 0 h 48915"/>
                  <a:gd name="connsiteX5" fmla="*/ 37540 w 37539"/>
                  <a:gd name="connsiteY5" fmla="*/ 7205 h 48915"/>
                  <a:gd name="connsiteX6" fmla="*/ 23257 w 37539"/>
                  <a:gd name="connsiteY6" fmla="*/ 7205 h 48915"/>
                  <a:gd name="connsiteX7" fmla="*/ 23257 w 37539"/>
                  <a:gd name="connsiteY7" fmla="*/ 48915 h 48915"/>
                  <a:gd name="connsiteX8" fmla="*/ 14283 w 37539"/>
                  <a:gd name="connsiteY8" fmla="*/ 4891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39" h="48915">
                    <a:moveTo>
                      <a:pt x="14283" y="48915"/>
                    </a:moveTo>
                    <a:lnTo>
                      <a:pt x="14283" y="7205"/>
                    </a:lnTo>
                    <a:lnTo>
                      <a:pt x="0" y="7205"/>
                    </a:lnTo>
                    <a:lnTo>
                      <a:pt x="0" y="0"/>
                    </a:lnTo>
                    <a:lnTo>
                      <a:pt x="37540" y="0"/>
                    </a:lnTo>
                    <a:lnTo>
                      <a:pt x="37540" y="7205"/>
                    </a:lnTo>
                    <a:lnTo>
                      <a:pt x="23257" y="7205"/>
                    </a:lnTo>
                    <a:lnTo>
                      <a:pt x="23257" y="48915"/>
                    </a:lnTo>
                    <a:lnTo>
                      <a:pt x="14283" y="48915"/>
                    </a:lnTo>
                    <a:close/>
                  </a:path>
                </a:pathLst>
              </a:custGeom>
              <a:grpFill/>
              <a:ln w="12519" cap="flat">
                <a:noFill/>
                <a:prstDash val="solid"/>
                <a:miter/>
              </a:ln>
            </p:spPr>
            <p:txBody>
              <a:bodyPr rtlCol="0" anchor="ctr"/>
              <a:lstStyle/>
              <a:p>
                <a:endParaRPr lang="de-DE" b="1"/>
              </a:p>
            </p:txBody>
          </p:sp>
          <p:sp>
            <p:nvSpPr>
              <p:cNvPr id="41" name="Freihandform: Form 40">
                <a:extLst>
                  <a:ext uri="{FF2B5EF4-FFF2-40B4-BE49-F238E27FC236}">
                    <a16:creationId xmlns:a16="http://schemas.microsoft.com/office/drawing/2014/main" id="{6693C132-E352-58FF-FAAC-94888D053F10}"/>
                  </a:ext>
                </a:extLst>
              </p:cNvPr>
              <p:cNvSpPr/>
              <p:nvPr/>
            </p:nvSpPr>
            <p:spPr>
              <a:xfrm>
                <a:off x="13058384" y="1136904"/>
                <a:ext cx="38677" cy="49800"/>
              </a:xfrm>
              <a:custGeom>
                <a:avLst/>
                <a:gdLst>
                  <a:gd name="connsiteX0" fmla="*/ 19212 w 38677"/>
                  <a:gd name="connsiteY0" fmla="*/ 49800 h 49800"/>
                  <a:gd name="connsiteX1" fmla="*/ 9480 w 38677"/>
                  <a:gd name="connsiteY1" fmla="*/ 47651 h 49800"/>
                  <a:gd name="connsiteX2" fmla="*/ 2528 w 38677"/>
                  <a:gd name="connsiteY2" fmla="*/ 41205 h 49800"/>
                  <a:gd name="connsiteX3" fmla="*/ 0 w 38677"/>
                  <a:gd name="connsiteY3" fmla="*/ 30209 h 49800"/>
                  <a:gd name="connsiteX4" fmla="*/ 0 w 38677"/>
                  <a:gd name="connsiteY4" fmla="*/ 0 h 49800"/>
                  <a:gd name="connsiteX5" fmla="*/ 8974 w 38677"/>
                  <a:gd name="connsiteY5" fmla="*/ 0 h 49800"/>
                  <a:gd name="connsiteX6" fmla="*/ 8974 w 38677"/>
                  <a:gd name="connsiteY6" fmla="*/ 30209 h 49800"/>
                  <a:gd name="connsiteX7" fmla="*/ 11755 w 38677"/>
                  <a:gd name="connsiteY7" fmla="*/ 38677 h 49800"/>
                  <a:gd name="connsiteX8" fmla="*/ 19339 w 38677"/>
                  <a:gd name="connsiteY8" fmla="*/ 41458 h 49800"/>
                  <a:gd name="connsiteX9" fmla="*/ 26922 w 38677"/>
                  <a:gd name="connsiteY9" fmla="*/ 38677 h 49800"/>
                  <a:gd name="connsiteX10" fmla="*/ 29703 w 38677"/>
                  <a:gd name="connsiteY10" fmla="*/ 30209 h 49800"/>
                  <a:gd name="connsiteX11" fmla="*/ 29703 w 38677"/>
                  <a:gd name="connsiteY11" fmla="*/ 0 h 49800"/>
                  <a:gd name="connsiteX12" fmla="*/ 38677 w 38677"/>
                  <a:gd name="connsiteY12" fmla="*/ 0 h 49800"/>
                  <a:gd name="connsiteX13" fmla="*/ 38677 w 38677"/>
                  <a:gd name="connsiteY13" fmla="*/ 30209 h 49800"/>
                  <a:gd name="connsiteX14" fmla="*/ 36023 w 38677"/>
                  <a:gd name="connsiteY14" fmla="*/ 41205 h 49800"/>
                  <a:gd name="connsiteX15" fmla="*/ 28945 w 38677"/>
                  <a:gd name="connsiteY15" fmla="*/ 47651 h 49800"/>
                  <a:gd name="connsiteX16" fmla="*/ 19086 w 38677"/>
                  <a:gd name="connsiteY16" fmla="*/ 49800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677" h="49800">
                    <a:moveTo>
                      <a:pt x="19212" y="49800"/>
                    </a:moveTo>
                    <a:cubicBezTo>
                      <a:pt x="15673" y="49800"/>
                      <a:pt x="12387" y="49042"/>
                      <a:pt x="9480" y="47651"/>
                    </a:cubicBezTo>
                    <a:cubicBezTo>
                      <a:pt x="6573" y="46261"/>
                      <a:pt x="4297" y="44112"/>
                      <a:pt x="2528" y="41205"/>
                    </a:cubicBezTo>
                    <a:cubicBezTo>
                      <a:pt x="885" y="38298"/>
                      <a:pt x="0" y="34633"/>
                      <a:pt x="0" y="30209"/>
                    </a:cubicBezTo>
                    <a:lnTo>
                      <a:pt x="0" y="0"/>
                    </a:lnTo>
                    <a:lnTo>
                      <a:pt x="8974" y="0"/>
                    </a:lnTo>
                    <a:lnTo>
                      <a:pt x="8974" y="30209"/>
                    </a:lnTo>
                    <a:cubicBezTo>
                      <a:pt x="8974" y="34001"/>
                      <a:pt x="9859" y="36908"/>
                      <a:pt x="11755" y="38677"/>
                    </a:cubicBezTo>
                    <a:cubicBezTo>
                      <a:pt x="13651" y="40573"/>
                      <a:pt x="16179" y="41458"/>
                      <a:pt x="19339" y="41458"/>
                    </a:cubicBezTo>
                    <a:cubicBezTo>
                      <a:pt x="22499" y="41458"/>
                      <a:pt x="25153" y="40573"/>
                      <a:pt x="26922" y="38677"/>
                    </a:cubicBezTo>
                    <a:cubicBezTo>
                      <a:pt x="28818" y="36781"/>
                      <a:pt x="29703" y="34001"/>
                      <a:pt x="29703" y="30209"/>
                    </a:cubicBezTo>
                    <a:lnTo>
                      <a:pt x="29703" y="0"/>
                    </a:lnTo>
                    <a:lnTo>
                      <a:pt x="38677" y="0"/>
                    </a:lnTo>
                    <a:lnTo>
                      <a:pt x="38677" y="30209"/>
                    </a:lnTo>
                    <a:cubicBezTo>
                      <a:pt x="38677" y="34633"/>
                      <a:pt x="37793" y="38298"/>
                      <a:pt x="36023" y="41205"/>
                    </a:cubicBezTo>
                    <a:cubicBezTo>
                      <a:pt x="34253" y="44112"/>
                      <a:pt x="31852" y="46261"/>
                      <a:pt x="28945" y="47651"/>
                    </a:cubicBezTo>
                    <a:cubicBezTo>
                      <a:pt x="26038" y="49042"/>
                      <a:pt x="22751" y="49800"/>
                      <a:pt x="19086" y="49800"/>
                    </a:cubicBezTo>
                  </a:path>
                </a:pathLst>
              </a:custGeom>
              <a:grpFill/>
              <a:ln w="12519" cap="flat">
                <a:noFill/>
                <a:prstDash val="solid"/>
                <a:miter/>
              </a:ln>
            </p:spPr>
            <p:txBody>
              <a:bodyPr rtlCol="0" anchor="ctr"/>
              <a:lstStyle/>
              <a:p>
                <a:endParaRPr lang="de-DE" b="1"/>
              </a:p>
            </p:txBody>
          </p:sp>
          <p:sp>
            <p:nvSpPr>
              <p:cNvPr id="42" name="Freihandform: Form 41">
                <a:extLst>
                  <a:ext uri="{FF2B5EF4-FFF2-40B4-BE49-F238E27FC236}">
                    <a16:creationId xmlns:a16="http://schemas.microsoft.com/office/drawing/2014/main" id="{7BEDFC85-1238-DECB-3A5B-1F652ED6AA87}"/>
                  </a:ext>
                </a:extLst>
              </p:cNvPr>
              <p:cNvSpPr/>
              <p:nvPr/>
            </p:nvSpPr>
            <p:spPr>
              <a:xfrm>
                <a:off x="13114251" y="1137030"/>
                <a:ext cx="35643" cy="49041"/>
              </a:xfrm>
              <a:custGeom>
                <a:avLst/>
                <a:gdLst>
                  <a:gd name="connsiteX0" fmla="*/ 126 w 35643"/>
                  <a:gd name="connsiteY0" fmla="*/ 48915 h 49041"/>
                  <a:gd name="connsiteX1" fmla="*/ 126 w 35643"/>
                  <a:gd name="connsiteY1" fmla="*/ 0 h 49041"/>
                  <a:gd name="connsiteX2" fmla="*/ 18075 w 35643"/>
                  <a:gd name="connsiteY2" fmla="*/ 0 h 49041"/>
                  <a:gd name="connsiteX3" fmla="*/ 27681 w 35643"/>
                  <a:gd name="connsiteY3" fmla="*/ 2022 h 49041"/>
                  <a:gd name="connsiteX4" fmla="*/ 33369 w 35643"/>
                  <a:gd name="connsiteY4" fmla="*/ 7457 h 49041"/>
                  <a:gd name="connsiteX5" fmla="*/ 35265 w 35643"/>
                  <a:gd name="connsiteY5" fmla="*/ 14915 h 49041"/>
                  <a:gd name="connsiteX6" fmla="*/ 32863 w 35643"/>
                  <a:gd name="connsiteY6" fmla="*/ 23130 h 49041"/>
                  <a:gd name="connsiteX7" fmla="*/ 25532 w 35643"/>
                  <a:gd name="connsiteY7" fmla="*/ 28566 h 49041"/>
                  <a:gd name="connsiteX8" fmla="*/ 35644 w 35643"/>
                  <a:gd name="connsiteY8" fmla="*/ 49042 h 49041"/>
                  <a:gd name="connsiteX9" fmla="*/ 25406 w 35643"/>
                  <a:gd name="connsiteY9" fmla="*/ 49042 h 49041"/>
                  <a:gd name="connsiteX10" fmla="*/ 16305 w 35643"/>
                  <a:gd name="connsiteY10" fmla="*/ 29829 h 49041"/>
                  <a:gd name="connsiteX11" fmla="*/ 8974 w 35643"/>
                  <a:gd name="connsiteY11" fmla="*/ 29829 h 49041"/>
                  <a:gd name="connsiteX12" fmla="*/ 8974 w 35643"/>
                  <a:gd name="connsiteY12" fmla="*/ 49042 h 49041"/>
                  <a:gd name="connsiteX13" fmla="*/ 0 w 35643"/>
                  <a:gd name="connsiteY13" fmla="*/ 49042 h 49041"/>
                  <a:gd name="connsiteX14" fmla="*/ 9101 w 35643"/>
                  <a:gd name="connsiteY14" fmla="*/ 23130 h 49041"/>
                  <a:gd name="connsiteX15" fmla="*/ 17569 w 35643"/>
                  <a:gd name="connsiteY15" fmla="*/ 23130 h 49041"/>
                  <a:gd name="connsiteX16" fmla="*/ 24142 w 35643"/>
                  <a:gd name="connsiteY16" fmla="*/ 20982 h 49041"/>
                  <a:gd name="connsiteX17" fmla="*/ 26164 w 35643"/>
                  <a:gd name="connsiteY17" fmla="*/ 15294 h 49041"/>
                  <a:gd name="connsiteX18" fmla="*/ 24142 w 35643"/>
                  <a:gd name="connsiteY18" fmla="*/ 9732 h 49041"/>
                  <a:gd name="connsiteX19" fmla="*/ 17443 w 35643"/>
                  <a:gd name="connsiteY19" fmla="*/ 7584 h 49041"/>
                  <a:gd name="connsiteX20" fmla="*/ 9101 w 35643"/>
                  <a:gd name="connsiteY20" fmla="*/ 7584 h 49041"/>
                  <a:gd name="connsiteX21" fmla="*/ 9101 w 35643"/>
                  <a:gd name="connsiteY21" fmla="*/ 23130 h 4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643" h="49041">
                    <a:moveTo>
                      <a:pt x="126" y="48915"/>
                    </a:moveTo>
                    <a:lnTo>
                      <a:pt x="126" y="0"/>
                    </a:lnTo>
                    <a:lnTo>
                      <a:pt x="18075" y="0"/>
                    </a:lnTo>
                    <a:cubicBezTo>
                      <a:pt x="21993" y="0"/>
                      <a:pt x="25153" y="632"/>
                      <a:pt x="27681" y="2022"/>
                    </a:cubicBezTo>
                    <a:cubicBezTo>
                      <a:pt x="30209" y="3286"/>
                      <a:pt x="32105" y="5182"/>
                      <a:pt x="33369" y="7457"/>
                    </a:cubicBezTo>
                    <a:cubicBezTo>
                      <a:pt x="34633" y="9732"/>
                      <a:pt x="35265" y="12260"/>
                      <a:pt x="35265" y="14915"/>
                    </a:cubicBezTo>
                    <a:cubicBezTo>
                      <a:pt x="35265" y="17822"/>
                      <a:pt x="34506" y="20603"/>
                      <a:pt x="32863" y="23130"/>
                    </a:cubicBezTo>
                    <a:cubicBezTo>
                      <a:pt x="31346" y="25532"/>
                      <a:pt x="28818" y="27428"/>
                      <a:pt x="25532" y="28566"/>
                    </a:cubicBezTo>
                    <a:lnTo>
                      <a:pt x="35644" y="49042"/>
                    </a:lnTo>
                    <a:lnTo>
                      <a:pt x="25406" y="49042"/>
                    </a:lnTo>
                    <a:lnTo>
                      <a:pt x="16305" y="29829"/>
                    </a:lnTo>
                    <a:lnTo>
                      <a:pt x="8974" y="29829"/>
                    </a:lnTo>
                    <a:lnTo>
                      <a:pt x="8974" y="49042"/>
                    </a:lnTo>
                    <a:lnTo>
                      <a:pt x="0" y="49042"/>
                    </a:lnTo>
                    <a:close/>
                    <a:moveTo>
                      <a:pt x="9101" y="23130"/>
                    </a:moveTo>
                    <a:lnTo>
                      <a:pt x="17569" y="23130"/>
                    </a:lnTo>
                    <a:cubicBezTo>
                      <a:pt x="20603" y="23130"/>
                      <a:pt x="22751" y="22372"/>
                      <a:pt x="24142" y="20982"/>
                    </a:cubicBezTo>
                    <a:cubicBezTo>
                      <a:pt x="25532" y="19591"/>
                      <a:pt x="26164" y="17569"/>
                      <a:pt x="26164" y="15294"/>
                    </a:cubicBezTo>
                    <a:cubicBezTo>
                      <a:pt x="26164" y="13019"/>
                      <a:pt x="25532" y="11123"/>
                      <a:pt x="24142" y="9732"/>
                    </a:cubicBezTo>
                    <a:cubicBezTo>
                      <a:pt x="22751" y="8342"/>
                      <a:pt x="20603" y="7584"/>
                      <a:pt x="17443" y="7584"/>
                    </a:cubicBezTo>
                    <a:lnTo>
                      <a:pt x="9101" y="7584"/>
                    </a:lnTo>
                    <a:lnTo>
                      <a:pt x="9101" y="23130"/>
                    </a:lnTo>
                    <a:close/>
                  </a:path>
                </a:pathLst>
              </a:custGeom>
              <a:grpFill/>
              <a:ln w="12519" cap="flat">
                <a:noFill/>
                <a:prstDash val="solid"/>
                <a:miter/>
              </a:ln>
            </p:spPr>
            <p:txBody>
              <a:bodyPr rtlCol="0" anchor="ctr"/>
              <a:lstStyle/>
              <a:p>
                <a:endParaRPr lang="de-DE" b="1"/>
              </a:p>
            </p:txBody>
          </p:sp>
          <p:sp>
            <p:nvSpPr>
              <p:cNvPr id="43" name="Freihandform: Form 42">
                <a:extLst>
                  <a:ext uri="{FF2B5EF4-FFF2-40B4-BE49-F238E27FC236}">
                    <a16:creationId xmlns:a16="http://schemas.microsoft.com/office/drawing/2014/main" id="{9ABB74EC-D6D4-C057-46B6-FF86475B5697}"/>
                  </a:ext>
                </a:extLst>
              </p:cNvPr>
              <p:cNvSpPr/>
              <p:nvPr/>
            </p:nvSpPr>
            <p:spPr>
              <a:xfrm>
                <a:off x="12266005" y="1220831"/>
                <a:ext cx="31472" cy="48789"/>
              </a:xfrm>
              <a:custGeom>
                <a:avLst/>
                <a:gdLst>
                  <a:gd name="connsiteX0" fmla="*/ 0 w 31472"/>
                  <a:gd name="connsiteY0" fmla="*/ 0 h 48789"/>
                  <a:gd name="connsiteX1" fmla="*/ 0 w 31472"/>
                  <a:gd name="connsiteY1" fmla="*/ 48789 h 48789"/>
                  <a:gd name="connsiteX2" fmla="*/ 8848 w 31472"/>
                  <a:gd name="connsiteY2" fmla="*/ 48789 h 48789"/>
                  <a:gd name="connsiteX3" fmla="*/ 8848 w 31472"/>
                  <a:gd name="connsiteY3" fmla="*/ 27934 h 48789"/>
                  <a:gd name="connsiteX4" fmla="*/ 27175 w 31472"/>
                  <a:gd name="connsiteY4" fmla="*/ 27934 h 48789"/>
                  <a:gd name="connsiteX5" fmla="*/ 27175 w 31472"/>
                  <a:gd name="connsiteY5" fmla="*/ 20855 h 48789"/>
                  <a:gd name="connsiteX6" fmla="*/ 8848 w 31472"/>
                  <a:gd name="connsiteY6" fmla="*/ 20855 h 48789"/>
                  <a:gd name="connsiteX7" fmla="*/ 8848 w 31472"/>
                  <a:gd name="connsiteY7" fmla="*/ 7205 h 48789"/>
                  <a:gd name="connsiteX8" fmla="*/ 31473 w 31472"/>
                  <a:gd name="connsiteY8" fmla="*/ 7205 h 48789"/>
                  <a:gd name="connsiteX9" fmla="*/ 31473 w 31472"/>
                  <a:gd name="connsiteY9" fmla="*/ 0 h 48789"/>
                  <a:gd name="connsiteX10" fmla="*/ 0 w 31472"/>
                  <a:gd name="connsiteY10"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472" h="48789">
                    <a:moveTo>
                      <a:pt x="0" y="0"/>
                    </a:moveTo>
                    <a:lnTo>
                      <a:pt x="0" y="48789"/>
                    </a:lnTo>
                    <a:lnTo>
                      <a:pt x="8848" y="48789"/>
                    </a:lnTo>
                    <a:lnTo>
                      <a:pt x="8848" y="27934"/>
                    </a:lnTo>
                    <a:lnTo>
                      <a:pt x="27175" y="27934"/>
                    </a:lnTo>
                    <a:lnTo>
                      <a:pt x="27175" y="20855"/>
                    </a:lnTo>
                    <a:lnTo>
                      <a:pt x="8848" y="20855"/>
                    </a:lnTo>
                    <a:lnTo>
                      <a:pt x="8848" y="7205"/>
                    </a:lnTo>
                    <a:lnTo>
                      <a:pt x="31473" y="7205"/>
                    </a:lnTo>
                    <a:lnTo>
                      <a:pt x="31473" y="0"/>
                    </a:lnTo>
                    <a:lnTo>
                      <a:pt x="0" y="0"/>
                    </a:lnTo>
                    <a:close/>
                  </a:path>
                </a:pathLst>
              </a:custGeom>
              <a:grpFill/>
              <a:ln w="12519" cap="flat">
                <a:noFill/>
                <a:prstDash val="solid"/>
                <a:miter/>
              </a:ln>
            </p:spPr>
            <p:txBody>
              <a:bodyPr rtlCol="0" anchor="ctr"/>
              <a:lstStyle/>
              <a:p>
                <a:endParaRPr lang="de-DE" b="1"/>
              </a:p>
            </p:txBody>
          </p:sp>
          <p:sp>
            <p:nvSpPr>
              <p:cNvPr id="44" name="Freihandform: Form 43">
                <a:extLst>
                  <a:ext uri="{FF2B5EF4-FFF2-40B4-BE49-F238E27FC236}">
                    <a16:creationId xmlns:a16="http://schemas.microsoft.com/office/drawing/2014/main" id="{6FFB3112-FC38-0F3A-3AAC-0E642F95D79A}"/>
                  </a:ext>
                </a:extLst>
              </p:cNvPr>
              <p:cNvSpPr/>
              <p:nvPr/>
            </p:nvSpPr>
            <p:spPr>
              <a:xfrm>
                <a:off x="12312266" y="1207433"/>
                <a:ext cx="38803" cy="63071"/>
              </a:xfrm>
              <a:custGeom>
                <a:avLst/>
                <a:gdLst>
                  <a:gd name="connsiteX0" fmla="*/ 19086 w 38803"/>
                  <a:gd name="connsiteY0" fmla="*/ 63072 h 63071"/>
                  <a:gd name="connsiteX1" fmla="*/ 9353 w 38803"/>
                  <a:gd name="connsiteY1" fmla="*/ 60923 h 63071"/>
                  <a:gd name="connsiteX2" fmla="*/ 2528 w 38803"/>
                  <a:gd name="connsiteY2" fmla="*/ 54477 h 63071"/>
                  <a:gd name="connsiteX3" fmla="*/ 0 w 38803"/>
                  <a:gd name="connsiteY3" fmla="*/ 43480 h 63071"/>
                  <a:gd name="connsiteX4" fmla="*/ 0 w 38803"/>
                  <a:gd name="connsiteY4" fmla="*/ 13272 h 63071"/>
                  <a:gd name="connsiteX5" fmla="*/ 8974 w 38803"/>
                  <a:gd name="connsiteY5" fmla="*/ 13272 h 63071"/>
                  <a:gd name="connsiteX6" fmla="*/ 8974 w 38803"/>
                  <a:gd name="connsiteY6" fmla="*/ 43480 h 63071"/>
                  <a:gd name="connsiteX7" fmla="*/ 11755 w 38803"/>
                  <a:gd name="connsiteY7" fmla="*/ 51949 h 63071"/>
                  <a:gd name="connsiteX8" fmla="*/ 19465 w 38803"/>
                  <a:gd name="connsiteY8" fmla="*/ 54730 h 63071"/>
                  <a:gd name="connsiteX9" fmla="*/ 27049 w 38803"/>
                  <a:gd name="connsiteY9" fmla="*/ 51949 h 63071"/>
                  <a:gd name="connsiteX10" fmla="*/ 29830 w 38803"/>
                  <a:gd name="connsiteY10" fmla="*/ 43480 h 63071"/>
                  <a:gd name="connsiteX11" fmla="*/ 29830 w 38803"/>
                  <a:gd name="connsiteY11" fmla="*/ 13272 h 63071"/>
                  <a:gd name="connsiteX12" fmla="*/ 38804 w 38803"/>
                  <a:gd name="connsiteY12" fmla="*/ 13272 h 63071"/>
                  <a:gd name="connsiteX13" fmla="*/ 38804 w 38803"/>
                  <a:gd name="connsiteY13" fmla="*/ 43480 h 63071"/>
                  <a:gd name="connsiteX14" fmla="*/ 36149 w 38803"/>
                  <a:gd name="connsiteY14" fmla="*/ 54477 h 63071"/>
                  <a:gd name="connsiteX15" fmla="*/ 29071 w 38803"/>
                  <a:gd name="connsiteY15" fmla="*/ 60923 h 63071"/>
                  <a:gd name="connsiteX16" fmla="*/ 19212 w 38803"/>
                  <a:gd name="connsiteY16" fmla="*/ 63072 h 63071"/>
                  <a:gd name="connsiteX17" fmla="*/ 13019 w 38803"/>
                  <a:gd name="connsiteY17" fmla="*/ 8595 h 63071"/>
                  <a:gd name="connsiteX18" fmla="*/ 9985 w 38803"/>
                  <a:gd name="connsiteY18" fmla="*/ 7331 h 63071"/>
                  <a:gd name="connsiteX19" fmla="*/ 8721 w 38803"/>
                  <a:gd name="connsiteY19" fmla="*/ 4297 h 63071"/>
                  <a:gd name="connsiteX20" fmla="*/ 9985 w 38803"/>
                  <a:gd name="connsiteY20" fmla="*/ 1264 h 63071"/>
                  <a:gd name="connsiteX21" fmla="*/ 13019 w 38803"/>
                  <a:gd name="connsiteY21" fmla="*/ 0 h 63071"/>
                  <a:gd name="connsiteX22" fmla="*/ 16052 w 38803"/>
                  <a:gd name="connsiteY22" fmla="*/ 1264 h 63071"/>
                  <a:gd name="connsiteX23" fmla="*/ 17316 w 38803"/>
                  <a:gd name="connsiteY23" fmla="*/ 4297 h 63071"/>
                  <a:gd name="connsiteX24" fmla="*/ 16052 w 38803"/>
                  <a:gd name="connsiteY24" fmla="*/ 7331 h 63071"/>
                  <a:gd name="connsiteX25" fmla="*/ 13019 w 38803"/>
                  <a:gd name="connsiteY25" fmla="*/ 8595 h 63071"/>
                  <a:gd name="connsiteX26" fmla="*/ 25532 w 38803"/>
                  <a:gd name="connsiteY26" fmla="*/ 8595 h 63071"/>
                  <a:gd name="connsiteX27" fmla="*/ 22499 w 38803"/>
                  <a:gd name="connsiteY27" fmla="*/ 7331 h 63071"/>
                  <a:gd name="connsiteX28" fmla="*/ 21235 w 38803"/>
                  <a:gd name="connsiteY28" fmla="*/ 4297 h 63071"/>
                  <a:gd name="connsiteX29" fmla="*/ 22499 w 38803"/>
                  <a:gd name="connsiteY29" fmla="*/ 1264 h 63071"/>
                  <a:gd name="connsiteX30" fmla="*/ 25532 w 38803"/>
                  <a:gd name="connsiteY30" fmla="*/ 0 h 63071"/>
                  <a:gd name="connsiteX31" fmla="*/ 28566 w 38803"/>
                  <a:gd name="connsiteY31" fmla="*/ 1264 h 63071"/>
                  <a:gd name="connsiteX32" fmla="*/ 29830 w 38803"/>
                  <a:gd name="connsiteY32" fmla="*/ 4297 h 63071"/>
                  <a:gd name="connsiteX33" fmla="*/ 28566 w 38803"/>
                  <a:gd name="connsiteY33" fmla="*/ 7331 h 63071"/>
                  <a:gd name="connsiteX34" fmla="*/ 25532 w 38803"/>
                  <a:gd name="connsiteY34" fmla="*/ 8595 h 6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8803" h="63071">
                    <a:moveTo>
                      <a:pt x="19086" y="63072"/>
                    </a:moveTo>
                    <a:cubicBezTo>
                      <a:pt x="15547" y="63072"/>
                      <a:pt x="12260" y="62313"/>
                      <a:pt x="9353" y="60923"/>
                    </a:cubicBezTo>
                    <a:cubicBezTo>
                      <a:pt x="6446" y="59533"/>
                      <a:pt x="4171" y="57384"/>
                      <a:pt x="2528" y="54477"/>
                    </a:cubicBezTo>
                    <a:cubicBezTo>
                      <a:pt x="885" y="51570"/>
                      <a:pt x="0" y="47904"/>
                      <a:pt x="0" y="43480"/>
                    </a:cubicBezTo>
                    <a:lnTo>
                      <a:pt x="0" y="13272"/>
                    </a:lnTo>
                    <a:lnTo>
                      <a:pt x="8974" y="13272"/>
                    </a:lnTo>
                    <a:lnTo>
                      <a:pt x="8974" y="43480"/>
                    </a:lnTo>
                    <a:cubicBezTo>
                      <a:pt x="8974" y="47272"/>
                      <a:pt x="9859" y="50179"/>
                      <a:pt x="11755" y="51949"/>
                    </a:cubicBezTo>
                    <a:cubicBezTo>
                      <a:pt x="13651" y="53845"/>
                      <a:pt x="16179" y="54730"/>
                      <a:pt x="19465" y="54730"/>
                    </a:cubicBezTo>
                    <a:cubicBezTo>
                      <a:pt x="22751" y="54730"/>
                      <a:pt x="25153" y="53845"/>
                      <a:pt x="27049" y="51949"/>
                    </a:cubicBezTo>
                    <a:cubicBezTo>
                      <a:pt x="28945" y="50053"/>
                      <a:pt x="29830" y="47272"/>
                      <a:pt x="29830" y="43480"/>
                    </a:cubicBezTo>
                    <a:lnTo>
                      <a:pt x="29830" y="13272"/>
                    </a:lnTo>
                    <a:lnTo>
                      <a:pt x="38804" y="13272"/>
                    </a:lnTo>
                    <a:lnTo>
                      <a:pt x="38804" y="43480"/>
                    </a:lnTo>
                    <a:cubicBezTo>
                      <a:pt x="38804" y="47904"/>
                      <a:pt x="37919" y="51570"/>
                      <a:pt x="36149" y="54477"/>
                    </a:cubicBezTo>
                    <a:cubicBezTo>
                      <a:pt x="34380" y="57384"/>
                      <a:pt x="31978" y="59533"/>
                      <a:pt x="29071" y="60923"/>
                    </a:cubicBezTo>
                    <a:cubicBezTo>
                      <a:pt x="26164" y="62313"/>
                      <a:pt x="22878" y="63072"/>
                      <a:pt x="19212" y="63072"/>
                    </a:cubicBezTo>
                    <a:moveTo>
                      <a:pt x="13019" y="8595"/>
                    </a:moveTo>
                    <a:cubicBezTo>
                      <a:pt x="11755" y="8595"/>
                      <a:pt x="10744" y="8216"/>
                      <a:pt x="9985" y="7331"/>
                    </a:cubicBezTo>
                    <a:cubicBezTo>
                      <a:pt x="9101" y="6446"/>
                      <a:pt x="8721" y="5435"/>
                      <a:pt x="8721" y="4297"/>
                    </a:cubicBezTo>
                    <a:cubicBezTo>
                      <a:pt x="8721" y="3160"/>
                      <a:pt x="9101" y="2022"/>
                      <a:pt x="9985" y="1264"/>
                    </a:cubicBezTo>
                    <a:cubicBezTo>
                      <a:pt x="10870" y="506"/>
                      <a:pt x="11881" y="0"/>
                      <a:pt x="13019" y="0"/>
                    </a:cubicBezTo>
                    <a:cubicBezTo>
                      <a:pt x="14156" y="0"/>
                      <a:pt x="15294" y="379"/>
                      <a:pt x="16052" y="1264"/>
                    </a:cubicBezTo>
                    <a:cubicBezTo>
                      <a:pt x="16811" y="2149"/>
                      <a:pt x="17316" y="3160"/>
                      <a:pt x="17316" y="4297"/>
                    </a:cubicBezTo>
                    <a:cubicBezTo>
                      <a:pt x="17316" y="5435"/>
                      <a:pt x="16937" y="6573"/>
                      <a:pt x="16052" y="7331"/>
                    </a:cubicBezTo>
                    <a:cubicBezTo>
                      <a:pt x="15168" y="8216"/>
                      <a:pt x="14156" y="8595"/>
                      <a:pt x="13019" y="8595"/>
                    </a:cubicBezTo>
                    <a:moveTo>
                      <a:pt x="25532" y="8595"/>
                    </a:moveTo>
                    <a:cubicBezTo>
                      <a:pt x="24395" y="8595"/>
                      <a:pt x="23257" y="8216"/>
                      <a:pt x="22499" y="7331"/>
                    </a:cubicBezTo>
                    <a:cubicBezTo>
                      <a:pt x="21614" y="6446"/>
                      <a:pt x="21235" y="5435"/>
                      <a:pt x="21235" y="4297"/>
                    </a:cubicBezTo>
                    <a:cubicBezTo>
                      <a:pt x="21235" y="3160"/>
                      <a:pt x="21614" y="2022"/>
                      <a:pt x="22499" y="1264"/>
                    </a:cubicBezTo>
                    <a:cubicBezTo>
                      <a:pt x="23383" y="379"/>
                      <a:pt x="24395" y="0"/>
                      <a:pt x="25532" y="0"/>
                    </a:cubicBezTo>
                    <a:cubicBezTo>
                      <a:pt x="26670" y="0"/>
                      <a:pt x="27807" y="379"/>
                      <a:pt x="28566" y="1264"/>
                    </a:cubicBezTo>
                    <a:cubicBezTo>
                      <a:pt x="29324" y="2149"/>
                      <a:pt x="29830" y="3160"/>
                      <a:pt x="29830" y="4297"/>
                    </a:cubicBezTo>
                    <a:cubicBezTo>
                      <a:pt x="29830" y="5435"/>
                      <a:pt x="29450" y="6573"/>
                      <a:pt x="28566" y="7331"/>
                    </a:cubicBezTo>
                    <a:cubicBezTo>
                      <a:pt x="27681" y="8216"/>
                      <a:pt x="26670" y="8595"/>
                      <a:pt x="25532" y="8595"/>
                    </a:cubicBezTo>
                  </a:path>
                </a:pathLst>
              </a:custGeom>
              <a:grpFill/>
              <a:ln w="12519" cap="flat">
                <a:noFill/>
                <a:prstDash val="solid"/>
                <a:miter/>
              </a:ln>
            </p:spPr>
            <p:txBody>
              <a:bodyPr rtlCol="0" anchor="ctr"/>
              <a:lstStyle/>
              <a:p>
                <a:endParaRPr lang="de-DE" b="1"/>
              </a:p>
            </p:txBody>
          </p:sp>
          <p:sp>
            <p:nvSpPr>
              <p:cNvPr id="45" name="Freihandform: Form 44">
                <a:extLst>
                  <a:ext uri="{FF2B5EF4-FFF2-40B4-BE49-F238E27FC236}">
                    <a16:creationId xmlns:a16="http://schemas.microsoft.com/office/drawing/2014/main" id="{E1FA8E00-E442-97D1-7664-CFED2AB04A7F}"/>
                  </a:ext>
                </a:extLst>
              </p:cNvPr>
              <p:cNvSpPr/>
              <p:nvPr/>
            </p:nvSpPr>
            <p:spPr>
              <a:xfrm>
                <a:off x="12368007" y="1220705"/>
                <a:ext cx="35770" cy="48915"/>
              </a:xfrm>
              <a:custGeom>
                <a:avLst/>
                <a:gdLst>
                  <a:gd name="connsiteX0" fmla="*/ 0 w 35770"/>
                  <a:gd name="connsiteY0" fmla="*/ 48915 h 48915"/>
                  <a:gd name="connsiteX1" fmla="*/ 0 w 35770"/>
                  <a:gd name="connsiteY1" fmla="*/ 0 h 48915"/>
                  <a:gd name="connsiteX2" fmla="*/ 17948 w 35770"/>
                  <a:gd name="connsiteY2" fmla="*/ 0 h 48915"/>
                  <a:gd name="connsiteX3" fmla="*/ 27681 w 35770"/>
                  <a:gd name="connsiteY3" fmla="*/ 2022 h 48915"/>
                  <a:gd name="connsiteX4" fmla="*/ 33369 w 35770"/>
                  <a:gd name="connsiteY4" fmla="*/ 7457 h 48915"/>
                  <a:gd name="connsiteX5" fmla="*/ 35265 w 35770"/>
                  <a:gd name="connsiteY5" fmla="*/ 14915 h 48915"/>
                  <a:gd name="connsiteX6" fmla="*/ 32989 w 35770"/>
                  <a:gd name="connsiteY6" fmla="*/ 23131 h 48915"/>
                  <a:gd name="connsiteX7" fmla="*/ 25658 w 35770"/>
                  <a:gd name="connsiteY7" fmla="*/ 28439 h 48915"/>
                  <a:gd name="connsiteX8" fmla="*/ 35770 w 35770"/>
                  <a:gd name="connsiteY8" fmla="*/ 48915 h 48915"/>
                  <a:gd name="connsiteX9" fmla="*/ 25532 w 35770"/>
                  <a:gd name="connsiteY9" fmla="*/ 48915 h 48915"/>
                  <a:gd name="connsiteX10" fmla="*/ 16432 w 35770"/>
                  <a:gd name="connsiteY10" fmla="*/ 29703 h 48915"/>
                  <a:gd name="connsiteX11" fmla="*/ 8974 w 35770"/>
                  <a:gd name="connsiteY11" fmla="*/ 29703 h 48915"/>
                  <a:gd name="connsiteX12" fmla="*/ 8974 w 35770"/>
                  <a:gd name="connsiteY12" fmla="*/ 48915 h 48915"/>
                  <a:gd name="connsiteX13" fmla="*/ 0 w 35770"/>
                  <a:gd name="connsiteY13" fmla="*/ 48915 h 48915"/>
                  <a:gd name="connsiteX14" fmla="*/ 8974 w 35770"/>
                  <a:gd name="connsiteY14" fmla="*/ 23131 h 48915"/>
                  <a:gd name="connsiteX15" fmla="*/ 17443 w 35770"/>
                  <a:gd name="connsiteY15" fmla="*/ 23131 h 48915"/>
                  <a:gd name="connsiteX16" fmla="*/ 24015 w 35770"/>
                  <a:gd name="connsiteY16" fmla="*/ 20982 h 48915"/>
                  <a:gd name="connsiteX17" fmla="*/ 26164 w 35770"/>
                  <a:gd name="connsiteY17" fmla="*/ 15294 h 48915"/>
                  <a:gd name="connsiteX18" fmla="*/ 24142 w 35770"/>
                  <a:gd name="connsiteY18" fmla="*/ 9733 h 48915"/>
                  <a:gd name="connsiteX19" fmla="*/ 17443 w 35770"/>
                  <a:gd name="connsiteY19" fmla="*/ 7584 h 48915"/>
                  <a:gd name="connsiteX20" fmla="*/ 9101 w 35770"/>
                  <a:gd name="connsiteY20" fmla="*/ 7584 h 48915"/>
                  <a:gd name="connsiteX21" fmla="*/ 9101 w 35770"/>
                  <a:gd name="connsiteY21" fmla="*/ 23131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70" h="48915">
                    <a:moveTo>
                      <a:pt x="0" y="48915"/>
                    </a:moveTo>
                    <a:lnTo>
                      <a:pt x="0" y="0"/>
                    </a:lnTo>
                    <a:lnTo>
                      <a:pt x="17948" y="0"/>
                    </a:lnTo>
                    <a:cubicBezTo>
                      <a:pt x="21867" y="0"/>
                      <a:pt x="25026" y="632"/>
                      <a:pt x="27681" y="2022"/>
                    </a:cubicBezTo>
                    <a:cubicBezTo>
                      <a:pt x="30209" y="3413"/>
                      <a:pt x="32105" y="5182"/>
                      <a:pt x="33369" y="7457"/>
                    </a:cubicBezTo>
                    <a:cubicBezTo>
                      <a:pt x="34633" y="9733"/>
                      <a:pt x="35265" y="12260"/>
                      <a:pt x="35265" y="14915"/>
                    </a:cubicBezTo>
                    <a:cubicBezTo>
                      <a:pt x="35265" y="17948"/>
                      <a:pt x="34506" y="20603"/>
                      <a:pt x="32989" y="23131"/>
                    </a:cubicBezTo>
                    <a:cubicBezTo>
                      <a:pt x="31473" y="25532"/>
                      <a:pt x="28945" y="27428"/>
                      <a:pt x="25658" y="28439"/>
                    </a:cubicBezTo>
                    <a:lnTo>
                      <a:pt x="35770" y="48915"/>
                    </a:lnTo>
                    <a:lnTo>
                      <a:pt x="25532" y="48915"/>
                    </a:lnTo>
                    <a:lnTo>
                      <a:pt x="16432" y="29703"/>
                    </a:lnTo>
                    <a:lnTo>
                      <a:pt x="8974" y="29703"/>
                    </a:lnTo>
                    <a:lnTo>
                      <a:pt x="8974" y="48915"/>
                    </a:lnTo>
                    <a:lnTo>
                      <a:pt x="0" y="48915"/>
                    </a:lnTo>
                    <a:close/>
                    <a:moveTo>
                      <a:pt x="8974" y="23131"/>
                    </a:moveTo>
                    <a:lnTo>
                      <a:pt x="17443" y="23131"/>
                    </a:lnTo>
                    <a:cubicBezTo>
                      <a:pt x="20476" y="23131"/>
                      <a:pt x="22625" y="22372"/>
                      <a:pt x="24015" y="20982"/>
                    </a:cubicBezTo>
                    <a:cubicBezTo>
                      <a:pt x="25406" y="19591"/>
                      <a:pt x="26164" y="17696"/>
                      <a:pt x="26164" y="15294"/>
                    </a:cubicBezTo>
                    <a:cubicBezTo>
                      <a:pt x="26164" y="12892"/>
                      <a:pt x="25532" y="11123"/>
                      <a:pt x="24142" y="9733"/>
                    </a:cubicBezTo>
                    <a:cubicBezTo>
                      <a:pt x="22751" y="8342"/>
                      <a:pt x="20603" y="7584"/>
                      <a:pt x="17443" y="7584"/>
                    </a:cubicBezTo>
                    <a:lnTo>
                      <a:pt x="9101" y="7584"/>
                    </a:lnTo>
                    <a:lnTo>
                      <a:pt x="9101" y="23131"/>
                    </a:lnTo>
                    <a:close/>
                  </a:path>
                </a:pathLst>
              </a:custGeom>
              <a:grpFill/>
              <a:ln w="12519" cap="flat">
                <a:noFill/>
                <a:prstDash val="solid"/>
                <a:miter/>
              </a:ln>
            </p:spPr>
            <p:txBody>
              <a:bodyPr rtlCol="0" anchor="ctr"/>
              <a:lstStyle/>
              <a:p>
                <a:endParaRPr lang="de-DE" b="1"/>
              </a:p>
            </p:txBody>
          </p:sp>
          <p:sp>
            <p:nvSpPr>
              <p:cNvPr id="46" name="Freihandform: Form 45">
                <a:extLst>
                  <a:ext uri="{FF2B5EF4-FFF2-40B4-BE49-F238E27FC236}">
                    <a16:creationId xmlns:a16="http://schemas.microsoft.com/office/drawing/2014/main" id="{BD1EEAAE-C9BB-8C98-F42C-7468A87EA06C}"/>
                  </a:ext>
                </a:extLst>
              </p:cNvPr>
              <p:cNvSpPr/>
              <p:nvPr/>
            </p:nvSpPr>
            <p:spPr>
              <a:xfrm>
                <a:off x="12444224" y="1220705"/>
                <a:ext cx="41710" cy="48915"/>
              </a:xfrm>
              <a:custGeom>
                <a:avLst/>
                <a:gdLst>
                  <a:gd name="connsiteX0" fmla="*/ 0 w 41710"/>
                  <a:gd name="connsiteY0" fmla="*/ 48915 h 48915"/>
                  <a:gd name="connsiteX1" fmla="*/ 0 w 41710"/>
                  <a:gd name="connsiteY1" fmla="*/ 0 h 48915"/>
                  <a:gd name="connsiteX2" fmla="*/ 16684 w 41710"/>
                  <a:gd name="connsiteY2" fmla="*/ 0 h 48915"/>
                  <a:gd name="connsiteX3" fmla="*/ 30841 w 41710"/>
                  <a:gd name="connsiteY3" fmla="*/ 3033 h 48915"/>
                  <a:gd name="connsiteX4" fmla="*/ 39056 w 41710"/>
                  <a:gd name="connsiteY4" fmla="*/ 11502 h 48915"/>
                  <a:gd name="connsiteX5" fmla="*/ 41711 w 41710"/>
                  <a:gd name="connsiteY5" fmla="*/ 24395 h 48915"/>
                  <a:gd name="connsiteX6" fmla="*/ 39056 w 41710"/>
                  <a:gd name="connsiteY6" fmla="*/ 37287 h 48915"/>
                  <a:gd name="connsiteX7" fmla="*/ 30841 w 41710"/>
                  <a:gd name="connsiteY7" fmla="*/ 45756 h 48915"/>
                  <a:gd name="connsiteX8" fmla="*/ 16684 w 41710"/>
                  <a:gd name="connsiteY8" fmla="*/ 48789 h 48915"/>
                  <a:gd name="connsiteX9" fmla="*/ 0 w 41710"/>
                  <a:gd name="connsiteY9" fmla="*/ 48789 h 48915"/>
                  <a:gd name="connsiteX10" fmla="*/ 8974 w 41710"/>
                  <a:gd name="connsiteY10" fmla="*/ 41205 h 48915"/>
                  <a:gd name="connsiteX11" fmla="*/ 16305 w 41710"/>
                  <a:gd name="connsiteY11" fmla="*/ 41205 h 48915"/>
                  <a:gd name="connsiteX12" fmla="*/ 26038 w 41710"/>
                  <a:gd name="connsiteY12" fmla="*/ 39183 h 48915"/>
                  <a:gd name="connsiteX13" fmla="*/ 31094 w 41710"/>
                  <a:gd name="connsiteY13" fmla="*/ 33495 h 48915"/>
                  <a:gd name="connsiteX14" fmla="*/ 32610 w 41710"/>
                  <a:gd name="connsiteY14" fmla="*/ 24395 h 48915"/>
                  <a:gd name="connsiteX15" fmla="*/ 31094 w 41710"/>
                  <a:gd name="connsiteY15" fmla="*/ 15420 h 48915"/>
                  <a:gd name="connsiteX16" fmla="*/ 26038 w 41710"/>
                  <a:gd name="connsiteY16" fmla="*/ 9606 h 48915"/>
                  <a:gd name="connsiteX17" fmla="*/ 16305 w 41710"/>
                  <a:gd name="connsiteY17" fmla="*/ 7584 h 48915"/>
                  <a:gd name="connsiteX18" fmla="*/ 8974 w 41710"/>
                  <a:gd name="connsiteY18" fmla="*/ 7584 h 48915"/>
                  <a:gd name="connsiteX19" fmla="*/ 8974 w 41710"/>
                  <a:gd name="connsiteY19" fmla="*/ 41205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710" h="48915">
                    <a:moveTo>
                      <a:pt x="0" y="48915"/>
                    </a:moveTo>
                    <a:lnTo>
                      <a:pt x="0" y="0"/>
                    </a:lnTo>
                    <a:lnTo>
                      <a:pt x="16684" y="0"/>
                    </a:lnTo>
                    <a:cubicBezTo>
                      <a:pt x="22372" y="0"/>
                      <a:pt x="27175" y="1011"/>
                      <a:pt x="30841" y="3033"/>
                    </a:cubicBezTo>
                    <a:cubicBezTo>
                      <a:pt x="34506" y="5056"/>
                      <a:pt x="37287" y="7837"/>
                      <a:pt x="39056" y="11502"/>
                    </a:cubicBezTo>
                    <a:cubicBezTo>
                      <a:pt x="40826" y="15168"/>
                      <a:pt x="41711" y="19465"/>
                      <a:pt x="41711" y="24395"/>
                    </a:cubicBezTo>
                    <a:cubicBezTo>
                      <a:pt x="41711" y="29324"/>
                      <a:pt x="40826" y="33622"/>
                      <a:pt x="39056" y="37287"/>
                    </a:cubicBezTo>
                    <a:cubicBezTo>
                      <a:pt x="37287" y="40952"/>
                      <a:pt x="34506" y="43733"/>
                      <a:pt x="30841" y="45756"/>
                    </a:cubicBezTo>
                    <a:cubicBezTo>
                      <a:pt x="27175" y="47778"/>
                      <a:pt x="22499" y="48789"/>
                      <a:pt x="16684" y="48789"/>
                    </a:cubicBezTo>
                    <a:lnTo>
                      <a:pt x="0" y="48789"/>
                    </a:lnTo>
                    <a:close/>
                    <a:moveTo>
                      <a:pt x="8974" y="41205"/>
                    </a:moveTo>
                    <a:lnTo>
                      <a:pt x="16305" y="41205"/>
                    </a:lnTo>
                    <a:cubicBezTo>
                      <a:pt x="20350" y="41205"/>
                      <a:pt x="23636" y="40573"/>
                      <a:pt x="26038" y="39183"/>
                    </a:cubicBezTo>
                    <a:cubicBezTo>
                      <a:pt x="28439" y="37919"/>
                      <a:pt x="30082" y="35897"/>
                      <a:pt x="31094" y="33495"/>
                    </a:cubicBezTo>
                    <a:cubicBezTo>
                      <a:pt x="32105" y="30967"/>
                      <a:pt x="32610" y="27934"/>
                      <a:pt x="32610" y="24395"/>
                    </a:cubicBezTo>
                    <a:cubicBezTo>
                      <a:pt x="32610" y="20855"/>
                      <a:pt x="32105" y="17948"/>
                      <a:pt x="31094" y="15420"/>
                    </a:cubicBezTo>
                    <a:cubicBezTo>
                      <a:pt x="30082" y="12892"/>
                      <a:pt x="28313" y="10997"/>
                      <a:pt x="26038" y="9606"/>
                    </a:cubicBezTo>
                    <a:cubicBezTo>
                      <a:pt x="23636" y="8216"/>
                      <a:pt x="20476" y="7584"/>
                      <a:pt x="16305" y="7584"/>
                    </a:cubicBezTo>
                    <a:lnTo>
                      <a:pt x="8974" y="7584"/>
                    </a:lnTo>
                    <a:lnTo>
                      <a:pt x="8974" y="41205"/>
                    </a:lnTo>
                    <a:close/>
                  </a:path>
                </a:pathLst>
              </a:custGeom>
              <a:grpFill/>
              <a:ln w="12519" cap="flat">
                <a:noFill/>
                <a:prstDash val="solid"/>
                <a:miter/>
              </a:ln>
            </p:spPr>
            <p:txBody>
              <a:bodyPr rtlCol="0" anchor="ctr"/>
              <a:lstStyle/>
              <a:p>
                <a:endParaRPr lang="de-DE" b="1"/>
              </a:p>
            </p:txBody>
          </p:sp>
          <p:sp>
            <p:nvSpPr>
              <p:cNvPr id="47" name="Freihandform: Form 46">
                <a:extLst>
                  <a:ext uri="{FF2B5EF4-FFF2-40B4-BE49-F238E27FC236}">
                    <a16:creationId xmlns:a16="http://schemas.microsoft.com/office/drawing/2014/main" id="{6907D159-465B-961F-B008-779ED484946F}"/>
                  </a:ext>
                </a:extLst>
              </p:cNvPr>
              <p:cNvSpPr/>
              <p:nvPr/>
            </p:nvSpPr>
            <p:spPr>
              <a:xfrm>
                <a:off x="12501860"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b="1"/>
              </a:p>
            </p:txBody>
          </p:sp>
          <p:sp>
            <p:nvSpPr>
              <p:cNvPr id="48" name="Freihandform: Form 47">
                <a:extLst>
                  <a:ext uri="{FF2B5EF4-FFF2-40B4-BE49-F238E27FC236}">
                    <a16:creationId xmlns:a16="http://schemas.microsoft.com/office/drawing/2014/main" id="{27CF8C2C-24A4-37D7-E3A4-C485C0B7C210}"/>
                  </a:ext>
                </a:extLst>
              </p:cNvPr>
              <p:cNvSpPr/>
              <p:nvPr/>
            </p:nvSpPr>
            <p:spPr>
              <a:xfrm>
                <a:off x="12526634" y="1219947"/>
                <a:ext cx="46893" cy="50685"/>
              </a:xfrm>
              <a:custGeom>
                <a:avLst/>
                <a:gdLst>
                  <a:gd name="connsiteX0" fmla="*/ 23131 w 46893"/>
                  <a:gd name="connsiteY0" fmla="*/ 50559 h 50685"/>
                  <a:gd name="connsiteX1" fmla="*/ 10997 w 46893"/>
                  <a:gd name="connsiteY1" fmla="*/ 47399 h 50685"/>
                  <a:gd name="connsiteX2" fmla="*/ 2907 w 46893"/>
                  <a:gd name="connsiteY2" fmla="*/ 38677 h 50685"/>
                  <a:gd name="connsiteX3" fmla="*/ 0 w 46893"/>
                  <a:gd name="connsiteY3" fmla="*/ 25532 h 50685"/>
                  <a:gd name="connsiteX4" fmla="*/ 2907 w 46893"/>
                  <a:gd name="connsiteY4" fmla="*/ 12260 h 50685"/>
                  <a:gd name="connsiteX5" fmla="*/ 11376 w 46893"/>
                  <a:gd name="connsiteY5" fmla="*/ 3286 h 50685"/>
                  <a:gd name="connsiteX6" fmla="*/ 24395 w 46893"/>
                  <a:gd name="connsiteY6" fmla="*/ 0 h 50685"/>
                  <a:gd name="connsiteX7" fmla="*/ 38677 w 46893"/>
                  <a:gd name="connsiteY7" fmla="*/ 4171 h 50685"/>
                  <a:gd name="connsiteX8" fmla="*/ 46008 w 46893"/>
                  <a:gd name="connsiteY8" fmla="*/ 15547 h 50685"/>
                  <a:gd name="connsiteX9" fmla="*/ 36023 w 46893"/>
                  <a:gd name="connsiteY9" fmla="*/ 15547 h 50685"/>
                  <a:gd name="connsiteX10" fmla="*/ 31978 w 46893"/>
                  <a:gd name="connsiteY10" fmla="*/ 10238 h 50685"/>
                  <a:gd name="connsiteX11" fmla="*/ 24395 w 46893"/>
                  <a:gd name="connsiteY11" fmla="*/ 8342 h 50685"/>
                  <a:gd name="connsiteX12" fmla="*/ 13145 w 46893"/>
                  <a:gd name="connsiteY12" fmla="*/ 13019 h 50685"/>
                  <a:gd name="connsiteX13" fmla="*/ 9227 w 46893"/>
                  <a:gd name="connsiteY13" fmla="*/ 25785 h 50685"/>
                  <a:gd name="connsiteX14" fmla="*/ 13145 w 46893"/>
                  <a:gd name="connsiteY14" fmla="*/ 38298 h 50685"/>
                  <a:gd name="connsiteX15" fmla="*/ 23889 w 46893"/>
                  <a:gd name="connsiteY15" fmla="*/ 42722 h 50685"/>
                  <a:gd name="connsiteX16" fmla="*/ 33874 w 46893"/>
                  <a:gd name="connsiteY16" fmla="*/ 39183 h 50685"/>
                  <a:gd name="connsiteX17" fmla="*/ 37919 w 46893"/>
                  <a:gd name="connsiteY17" fmla="*/ 29703 h 50685"/>
                  <a:gd name="connsiteX18" fmla="*/ 25532 w 46893"/>
                  <a:gd name="connsiteY18" fmla="*/ 29703 h 50685"/>
                  <a:gd name="connsiteX19" fmla="*/ 25532 w 46893"/>
                  <a:gd name="connsiteY19" fmla="*/ 23004 h 50685"/>
                  <a:gd name="connsiteX20" fmla="*/ 46893 w 46893"/>
                  <a:gd name="connsiteY20" fmla="*/ 23004 h 50685"/>
                  <a:gd name="connsiteX21" fmla="*/ 46893 w 46893"/>
                  <a:gd name="connsiteY21" fmla="*/ 49927 h 50685"/>
                  <a:gd name="connsiteX22" fmla="*/ 38677 w 46893"/>
                  <a:gd name="connsiteY22" fmla="*/ 49927 h 50685"/>
                  <a:gd name="connsiteX23" fmla="*/ 37919 w 46893"/>
                  <a:gd name="connsiteY23" fmla="*/ 43480 h 50685"/>
                  <a:gd name="connsiteX24" fmla="*/ 31978 w 46893"/>
                  <a:gd name="connsiteY24" fmla="*/ 48789 h 50685"/>
                  <a:gd name="connsiteX25" fmla="*/ 22878 w 46893"/>
                  <a:gd name="connsiteY25" fmla="*/ 50685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893" h="50685">
                    <a:moveTo>
                      <a:pt x="23131" y="50559"/>
                    </a:moveTo>
                    <a:cubicBezTo>
                      <a:pt x="18580" y="50559"/>
                      <a:pt x="14536" y="49547"/>
                      <a:pt x="10997" y="47399"/>
                    </a:cubicBezTo>
                    <a:cubicBezTo>
                      <a:pt x="7584" y="45250"/>
                      <a:pt x="4929" y="42343"/>
                      <a:pt x="2907" y="38677"/>
                    </a:cubicBezTo>
                    <a:cubicBezTo>
                      <a:pt x="1011" y="34885"/>
                      <a:pt x="0" y="30588"/>
                      <a:pt x="0" y="25532"/>
                    </a:cubicBezTo>
                    <a:cubicBezTo>
                      <a:pt x="0" y="20476"/>
                      <a:pt x="1011" y="16052"/>
                      <a:pt x="2907" y="12260"/>
                    </a:cubicBezTo>
                    <a:cubicBezTo>
                      <a:pt x="4929" y="8469"/>
                      <a:pt x="7710" y="5435"/>
                      <a:pt x="11376" y="3286"/>
                    </a:cubicBezTo>
                    <a:cubicBezTo>
                      <a:pt x="15041" y="1138"/>
                      <a:pt x="19339" y="0"/>
                      <a:pt x="24395" y="0"/>
                    </a:cubicBezTo>
                    <a:cubicBezTo>
                      <a:pt x="30082" y="0"/>
                      <a:pt x="34885" y="1390"/>
                      <a:pt x="38677" y="4171"/>
                    </a:cubicBezTo>
                    <a:cubicBezTo>
                      <a:pt x="42469" y="6952"/>
                      <a:pt x="44871" y="10744"/>
                      <a:pt x="46008" y="15547"/>
                    </a:cubicBezTo>
                    <a:lnTo>
                      <a:pt x="36023" y="15547"/>
                    </a:lnTo>
                    <a:cubicBezTo>
                      <a:pt x="35265" y="13272"/>
                      <a:pt x="33874" y="11502"/>
                      <a:pt x="31978" y="10238"/>
                    </a:cubicBezTo>
                    <a:cubicBezTo>
                      <a:pt x="30082" y="8974"/>
                      <a:pt x="27554" y="8342"/>
                      <a:pt x="24395" y="8342"/>
                    </a:cubicBezTo>
                    <a:cubicBezTo>
                      <a:pt x="19465" y="8342"/>
                      <a:pt x="15800" y="9859"/>
                      <a:pt x="13145" y="13019"/>
                    </a:cubicBezTo>
                    <a:cubicBezTo>
                      <a:pt x="10491" y="16179"/>
                      <a:pt x="9227" y="20350"/>
                      <a:pt x="9227" y="25785"/>
                    </a:cubicBezTo>
                    <a:cubicBezTo>
                      <a:pt x="9227" y="31220"/>
                      <a:pt x="10491" y="35391"/>
                      <a:pt x="13145" y="38298"/>
                    </a:cubicBezTo>
                    <a:cubicBezTo>
                      <a:pt x="15800" y="41205"/>
                      <a:pt x="19339" y="42722"/>
                      <a:pt x="23889" y="42722"/>
                    </a:cubicBezTo>
                    <a:cubicBezTo>
                      <a:pt x="28439" y="42722"/>
                      <a:pt x="31599" y="41458"/>
                      <a:pt x="33874" y="39183"/>
                    </a:cubicBezTo>
                    <a:cubicBezTo>
                      <a:pt x="36149" y="36781"/>
                      <a:pt x="37540" y="33621"/>
                      <a:pt x="37919" y="29703"/>
                    </a:cubicBezTo>
                    <a:lnTo>
                      <a:pt x="25532" y="29703"/>
                    </a:lnTo>
                    <a:lnTo>
                      <a:pt x="25532" y="23004"/>
                    </a:lnTo>
                    <a:lnTo>
                      <a:pt x="46893" y="23004"/>
                    </a:lnTo>
                    <a:lnTo>
                      <a:pt x="46893" y="49927"/>
                    </a:lnTo>
                    <a:lnTo>
                      <a:pt x="38677" y="49927"/>
                    </a:lnTo>
                    <a:lnTo>
                      <a:pt x="37919" y="43480"/>
                    </a:lnTo>
                    <a:cubicBezTo>
                      <a:pt x="36402" y="45756"/>
                      <a:pt x="34380" y="47651"/>
                      <a:pt x="31978" y="48789"/>
                    </a:cubicBezTo>
                    <a:cubicBezTo>
                      <a:pt x="29577" y="50053"/>
                      <a:pt x="26543" y="50685"/>
                      <a:pt x="22878" y="50685"/>
                    </a:cubicBezTo>
                  </a:path>
                </a:pathLst>
              </a:custGeom>
              <a:grpFill/>
              <a:ln w="12519" cap="flat">
                <a:noFill/>
                <a:prstDash val="solid"/>
                <a:miter/>
              </a:ln>
            </p:spPr>
            <p:txBody>
              <a:bodyPr rtlCol="0" anchor="ctr"/>
              <a:lstStyle/>
              <a:p>
                <a:endParaRPr lang="de-DE" b="1"/>
              </a:p>
            </p:txBody>
          </p:sp>
          <p:sp>
            <p:nvSpPr>
              <p:cNvPr id="49" name="Freihandform: Form 48">
                <a:extLst>
                  <a:ext uri="{FF2B5EF4-FFF2-40B4-BE49-F238E27FC236}">
                    <a16:creationId xmlns:a16="http://schemas.microsoft.com/office/drawing/2014/main" id="{7E5CA547-1F59-D7E7-A3FC-7D6E103FE8E3}"/>
                  </a:ext>
                </a:extLst>
              </p:cNvPr>
              <p:cNvSpPr/>
              <p:nvPr/>
            </p:nvSpPr>
            <p:spPr>
              <a:xfrm>
                <a:off x="12590338" y="1220831"/>
                <a:ext cx="8974" cy="48915"/>
              </a:xfrm>
              <a:custGeom>
                <a:avLst/>
                <a:gdLst>
                  <a:gd name="connsiteX0" fmla="*/ 0 w 8974"/>
                  <a:gd name="connsiteY0" fmla="*/ 0 h 48915"/>
                  <a:gd name="connsiteX1" fmla="*/ 8974 w 8974"/>
                  <a:gd name="connsiteY1" fmla="*/ 0 h 48915"/>
                  <a:gd name="connsiteX2" fmla="*/ 8974 w 8974"/>
                  <a:gd name="connsiteY2" fmla="*/ 48915 h 48915"/>
                  <a:gd name="connsiteX3" fmla="*/ 0 w 8974"/>
                  <a:gd name="connsiteY3" fmla="*/ 48915 h 48915"/>
                </a:gdLst>
                <a:ahLst/>
                <a:cxnLst>
                  <a:cxn ang="0">
                    <a:pos x="connsiteX0" y="connsiteY0"/>
                  </a:cxn>
                  <a:cxn ang="0">
                    <a:pos x="connsiteX1" y="connsiteY1"/>
                  </a:cxn>
                  <a:cxn ang="0">
                    <a:pos x="connsiteX2" y="connsiteY2"/>
                  </a:cxn>
                  <a:cxn ang="0">
                    <a:pos x="connsiteX3" y="connsiteY3"/>
                  </a:cxn>
                </a:cxnLst>
                <a:rect l="l" t="t" r="r" b="b"/>
                <a:pathLst>
                  <a:path w="8974" h="48915">
                    <a:moveTo>
                      <a:pt x="0" y="0"/>
                    </a:moveTo>
                    <a:lnTo>
                      <a:pt x="8974" y="0"/>
                    </a:lnTo>
                    <a:lnTo>
                      <a:pt x="8974" y="48915"/>
                    </a:lnTo>
                    <a:lnTo>
                      <a:pt x="0" y="48915"/>
                    </a:lnTo>
                    <a:close/>
                  </a:path>
                </a:pathLst>
              </a:custGeom>
              <a:grpFill/>
              <a:ln w="12519" cap="flat">
                <a:noFill/>
                <a:prstDash val="solid"/>
                <a:miter/>
              </a:ln>
            </p:spPr>
            <p:txBody>
              <a:bodyPr rtlCol="0" anchor="ctr"/>
              <a:lstStyle/>
              <a:p>
                <a:endParaRPr lang="de-DE" b="1"/>
              </a:p>
            </p:txBody>
          </p:sp>
          <p:sp>
            <p:nvSpPr>
              <p:cNvPr id="50" name="Freihandform: Form 49">
                <a:extLst>
                  <a:ext uri="{FF2B5EF4-FFF2-40B4-BE49-F238E27FC236}">
                    <a16:creationId xmlns:a16="http://schemas.microsoft.com/office/drawing/2014/main" id="{1BD090E7-7C80-C8A8-3207-8A0E937DF3EE}"/>
                  </a:ext>
                </a:extLst>
              </p:cNvPr>
              <p:cNvSpPr/>
              <p:nvPr/>
            </p:nvSpPr>
            <p:spPr>
              <a:xfrm>
                <a:off x="12613974" y="1220831"/>
                <a:ext cx="37413" cy="48789"/>
              </a:xfrm>
              <a:custGeom>
                <a:avLst/>
                <a:gdLst>
                  <a:gd name="connsiteX0" fmla="*/ 0 w 37413"/>
                  <a:gd name="connsiteY0" fmla="*/ 0 h 48789"/>
                  <a:gd name="connsiteX1" fmla="*/ 0 w 37413"/>
                  <a:gd name="connsiteY1" fmla="*/ 7205 h 48789"/>
                  <a:gd name="connsiteX2" fmla="*/ 14156 w 37413"/>
                  <a:gd name="connsiteY2" fmla="*/ 7205 h 48789"/>
                  <a:gd name="connsiteX3" fmla="*/ 14156 w 37413"/>
                  <a:gd name="connsiteY3" fmla="*/ 48789 h 48789"/>
                  <a:gd name="connsiteX4" fmla="*/ 23131 w 37413"/>
                  <a:gd name="connsiteY4" fmla="*/ 48789 h 48789"/>
                  <a:gd name="connsiteX5" fmla="*/ 23131 w 37413"/>
                  <a:gd name="connsiteY5" fmla="*/ 7205 h 48789"/>
                  <a:gd name="connsiteX6" fmla="*/ 37413 w 37413"/>
                  <a:gd name="connsiteY6" fmla="*/ 7205 h 48789"/>
                  <a:gd name="connsiteX7" fmla="*/ 37413 w 37413"/>
                  <a:gd name="connsiteY7" fmla="*/ 0 h 48789"/>
                  <a:gd name="connsiteX8" fmla="*/ 0 w 37413"/>
                  <a:gd name="connsiteY8"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13" h="48789">
                    <a:moveTo>
                      <a:pt x="0" y="0"/>
                    </a:moveTo>
                    <a:lnTo>
                      <a:pt x="0" y="7205"/>
                    </a:lnTo>
                    <a:lnTo>
                      <a:pt x="14156" y="7205"/>
                    </a:lnTo>
                    <a:lnTo>
                      <a:pt x="14156" y="48789"/>
                    </a:lnTo>
                    <a:lnTo>
                      <a:pt x="23131" y="48789"/>
                    </a:lnTo>
                    <a:lnTo>
                      <a:pt x="23131" y="7205"/>
                    </a:lnTo>
                    <a:lnTo>
                      <a:pt x="37413" y="7205"/>
                    </a:lnTo>
                    <a:lnTo>
                      <a:pt x="37413" y="0"/>
                    </a:lnTo>
                    <a:lnTo>
                      <a:pt x="0" y="0"/>
                    </a:lnTo>
                    <a:close/>
                  </a:path>
                </a:pathLst>
              </a:custGeom>
              <a:grpFill/>
              <a:ln w="12519" cap="flat">
                <a:noFill/>
                <a:prstDash val="solid"/>
                <a:miter/>
              </a:ln>
            </p:spPr>
            <p:txBody>
              <a:bodyPr rtlCol="0" anchor="ctr"/>
              <a:lstStyle/>
              <a:p>
                <a:endParaRPr lang="de-DE" b="1"/>
              </a:p>
            </p:txBody>
          </p:sp>
          <p:sp>
            <p:nvSpPr>
              <p:cNvPr id="51" name="Freihandform: Form 50">
                <a:extLst>
                  <a:ext uri="{FF2B5EF4-FFF2-40B4-BE49-F238E27FC236}">
                    <a16:creationId xmlns:a16="http://schemas.microsoft.com/office/drawing/2014/main" id="{7A818BDD-792C-D75C-3042-76974D04B4D5}"/>
                  </a:ext>
                </a:extLst>
              </p:cNvPr>
              <p:cNvSpPr/>
              <p:nvPr/>
            </p:nvSpPr>
            <p:spPr>
              <a:xfrm>
                <a:off x="12657707" y="1220831"/>
                <a:ext cx="45755" cy="48915"/>
              </a:xfrm>
              <a:custGeom>
                <a:avLst/>
                <a:gdLst>
                  <a:gd name="connsiteX0" fmla="*/ 22878 w 45755"/>
                  <a:gd name="connsiteY0" fmla="*/ 10238 h 48915"/>
                  <a:gd name="connsiteX1" fmla="*/ 29956 w 45755"/>
                  <a:gd name="connsiteY1" fmla="*/ 30588 h 48915"/>
                  <a:gd name="connsiteX2" fmla="*/ 15800 w 45755"/>
                  <a:gd name="connsiteY2" fmla="*/ 30588 h 48915"/>
                  <a:gd name="connsiteX3" fmla="*/ 22878 w 45755"/>
                  <a:gd name="connsiteY3" fmla="*/ 10238 h 48915"/>
                  <a:gd name="connsiteX4" fmla="*/ 17948 w 45755"/>
                  <a:gd name="connsiteY4" fmla="*/ 0 h 48915"/>
                  <a:gd name="connsiteX5" fmla="*/ 0 w 45755"/>
                  <a:gd name="connsiteY5" fmla="*/ 48915 h 48915"/>
                  <a:gd name="connsiteX6" fmla="*/ 9353 w 45755"/>
                  <a:gd name="connsiteY6" fmla="*/ 48915 h 48915"/>
                  <a:gd name="connsiteX7" fmla="*/ 13272 w 45755"/>
                  <a:gd name="connsiteY7" fmla="*/ 37666 h 48915"/>
                  <a:gd name="connsiteX8" fmla="*/ 32358 w 45755"/>
                  <a:gd name="connsiteY8" fmla="*/ 37666 h 48915"/>
                  <a:gd name="connsiteX9" fmla="*/ 36276 w 45755"/>
                  <a:gd name="connsiteY9" fmla="*/ 48915 h 48915"/>
                  <a:gd name="connsiteX10" fmla="*/ 45755 w 45755"/>
                  <a:gd name="connsiteY10" fmla="*/ 48915 h 48915"/>
                  <a:gd name="connsiteX11" fmla="*/ 27934 w 45755"/>
                  <a:gd name="connsiteY11" fmla="*/ 0 h 48915"/>
                  <a:gd name="connsiteX12" fmla="*/ 17822 w 45755"/>
                  <a:gd name="connsiteY12" fmla="*/ 0 h 4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48915">
                    <a:moveTo>
                      <a:pt x="22878" y="10238"/>
                    </a:moveTo>
                    <a:lnTo>
                      <a:pt x="29956" y="30588"/>
                    </a:lnTo>
                    <a:lnTo>
                      <a:pt x="15800" y="30588"/>
                    </a:lnTo>
                    <a:lnTo>
                      <a:pt x="22878" y="10238"/>
                    </a:lnTo>
                    <a:close/>
                    <a:moveTo>
                      <a:pt x="17948" y="0"/>
                    </a:moveTo>
                    <a:lnTo>
                      <a:pt x="0" y="48915"/>
                    </a:lnTo>
                    <a:lnTo>
                      <a:pt x="9353" y="48915"/>
                    </a:lnTo>
                    <a:lnTo>
                      <a:pt x="13272" y="37666"/>
                    </a:lnTo>
                    <a:lnTo>
                      <a:pt x="32358" y="37666"/>
                    </a:lnTo>
                    <a:lnTo>
                      <a:pt x="36276" y="48915"/>
                    </a:lnTo>
                    <a:lnTo>
                      <a:pt x="45755" y="48915"/>
                    </a:lnTo>
                    <a:lnTo>
                      <a:pt x="27934" y="0"/>
                    </a:lnTo>
                    <a:lnTo>
                      <a:pt x="17822" y="0"/>
                    </a:lnTo>
                    <a:close/>
                  </a:path>
                </a:pathLst>
              </a:custGeom>
              <a:grpFill/>
              <a:ln w="12519" cap="flat">
                <a:noFill/>
                <a:prstDash val="solid"/>
                <a:miter/>
              </a:ln>
            </p:spPr>
            <p:txBody>
              <a:bodyPr rtlCol="0" anchor="ctr"/>
              <a:lstStyle/>
              <a:p>
                <a:endParaRPr lang="de-DE" b="1"/>
              </a:p>
            </p:txBody>
          </p:sp>
          <p:sp>
            <p:nvSpPr>
              <p:cNvPr id="52" name="Freihandform: Form 51">
                <a:extLst>
                  <a:ext uri="{FF2B5EF4-FFF2-40B4-BE49-F238E27FC236}">
                    <a16:creationId xmlns:a16="http://schemas.microsoft.com/office/drawing/2014/main" id="{0652F74C-BB07-83C9-CDE6-F389B9D6D699}"/>
                  </a:ext>
                </a:extLst>
              </p:cNvPr>
              <p:cNvSpPr/>
              <p:nvPr/>
            </p:nvSpPr>
            <p:spPr>
              <a:xfrm>
                <a:off x="12717872" y="1220831"/>
                <a:ext cx="30587" cy="48789"/>
              </a:xfrm>
              <a:custGeom>
                <a:avLst/>
                <a:gdLst>
                  <a:gd name="connsiteX0" fmla="*/ 0 w 30587"/>
                  <a:gd name="connsiteY0" fmla="*/ 0 h 48789"/>
                  <a:gd name="connsiteX1" fmla="*/ 0 w 30587"/>
                  <a:gd name="connsiteY1" fmla="*/ 48789 h 48789"/>
                  <a:gd name="connsiteX2" fmla="*/ 30588 w 30587"/>
                  <a:gd name="connsiteY2" fmla="*/ 48789 h 48789"/>
                  <a:gd name="connsiteX3" fmla="*/ 30588 w 30587"/>
                  <a:gd name="connsiteY3" fmla="*/ 41837 h 48789"/>
                  <a:gd name="connsiteX4" fmla="*/ 8974 w 30587"/>
                  <a:gd name="connsiteY4" fmla="*/ 41837 h 48789"/>
                  <a:gd name="connsiteX5" fmla="*/ 8974 w 30587"/>
                  <a:gd name="connsiteY5" fmla="*/ 0 h 48789"/>
                  <a:gd name="connsiteX6" fmla="*/ 0 w 30587"/>
                  <a:gd name="connsiteY6"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587" h="48789">
                    <a:moveTo>
                      <a:pt x="0" y="0"/>
                    </a:moveTo>
                    <a:lnTo>
                      <a:pt x="0" y="48789"/>
                    </a:lnTo>
                    <a:lnTo>
                      <a:pt x="30588" y="48789"/>
                    </a:lnTo>
                    <a:lnTo>
                      <a:pt x="30588" y="41837"/>
                    </a:lnTo>
                    <a:lnTo>
                      <a:pt x="8974" y="41837"/>
                    </a:lnTo>
                    <a:lnTo>
                      <a:pt x="8974" y="0"/>
                    </a:lnTo>
                    <a:lnTo>
                      <a:pt x="0" y="0"/>
                    </a:lnTo>
                    <a:close/>
                  </a:path>
                </a:pathLst>
              </a:custGeom>
              <a:grpFill/>
              <a:ln w="12519" cap="flat">
                <a:noFill/>
                <a:prstDash val="solid"/>
                <a:miter/>
              </a:ln>
            </p:spPr>
            <p:txBody>
              <a:bodyPr rtlCol="0" anchor="ctr"/>
              <a:lstStyle/>
              <a:p>
                <a:endParaRPr lang="de-DE" b="1"/>
              </a:p>
            </p:txBody>
          </p:sp>
          <p:sp>
            <p:nvSpPr>
              <p:cNvPr id="53" name="Freihandform: Form 52">
                <a:extLst>
                  <a:ext uri="{FF2B5EF4-FFF2-40B4-BE49-F238E27FC236}">
                    <a16:creationId xmlns:a16="http://schemas.microsoft.com/office/drawing/2014/main" id="{07612E6C-0463-B1CB-877B-9148265CC56F}"/>
                  </a:ext>
                </a:extLst>
              </p:cNvPr>
              <p:cNvSpPr/>
              <p:nvPr/>
            </p:nvSpPr>
            <p:spPr>
              <a:xfrm>
                <a:off x="12764386" y="1220831"/>
                <a:ext cx="31851" cy="48789"/>
              </a:xfrm>
              <a:custGeom>
                <a:avLst/>
                <a:gdLst>
                  <a:gd name="connsiteX0" fmla="*/ 0 w 31851"/>
                  <a:gd name="connsiteY0" fmla="*/ 0 h 48789"/>
                  <a:gd name="connsiteX1" fmla="*/ 0 w 31851"/>
                  <a:gd name="connsiteY1" fmla="*/ 48789 h 48789"/>
                  <a:gd name="connsiteX2" fmla="*/ 31852 w 31851"/>
                  <a:gd name="connsiteY2" fmla="*/ 48789 h 48789"/>
                  <a:gd name="connsiteX3" fmla="*/ 31852 w 31851"/>
                  <a:gd name="connsiteY3" fmla="*/ 41711 h 48789"/>
                  <a:gd name="connsiteX4" fmla="*/ 8974 w 31851"/>
                  <a:gd name="connsiteY4" fmla="*/ 41711 h 48789"/>
                  <a:gd name="connsiteX5" fmla="*/ 8974 w 31851"/>
                  <a:gd name="connsiteY5" fmla="*/ 27554 h 48789"/>
                  <a:gd name="connsiteX6" fmla="*/ 29830 w 31851"/>
                  <a:gd name="connsiteY6" fmla="*/ 27554 h 48789"/>
                  <a:gd name="connsiteX7" fmla="*/ 29830 w 31851"/>
                  <a:gd name="connsiteY7" fmla="*/ 20603 h 48789"/>
                  <a:gd name="connsiteX8" fmla="*/ 8974 w 31851"/>
                  <a:gd name="connsiteY8" fmla="*/ 20603 h 48789"/>
                  <a:gd name="connsiteX9" fmla="*/ 8974 w 31851"/>
                  <a:gd name="connsiteY9" fmla="*/ 7205 h 48789"/>
                  <a:gd name="connsiteX10" fmla="*/ 31852 w 31851"/>
                  <a:gd name="connsiteY10" fmla="*/ 7205 h 48789"/>
                  <a:gd name="connsiteX11" fmla="*/ 31852 w 31851"/>
                  <a:gd name="connsiteY11" fmla="*/ 0 h 48789"/>
                  <a:gd name="connsiteX12" fmla="*/ 0 w 31851"/>
                  <a:gd name="connsiteY12" fmla="*/ 0 h 4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51" h="48789">
                    <a:moveTo>
                      <a:pt x="0" y="0"/>
                    </a:moveTo>
                    <a:lnTo>
                      <a:pt x="0" y="48789"/>
                    </a:lnTo>
                    <a:lnTo>
                      <a:pt x="31852" y="48789"/>
                    </a:lnTo>
                    <a:lnTo>
                      <a:pt x="31852" y="41711"/>
                    </a:lnTo>
                    <a:lnTo>
                      <a:pt x="8974" y="41711"/>
                    </a:lnTo>
                    <a:lnTo>
                      <a:pt x="8974" y="27554"/>
                    </a:lnTo>
                    <a:lnTo>
                      <a:pt x="29830" y="27554"/>
                    </a:lnTo>
                    <a:lnTo>
                      <a:pt x="29830" y="20603"/>
                    </a:lnTo>
                    <a:lnTo>
                      <a:pt x="8974" y="20603"/>
                    </a:lnTo>
                    <a:lnTo>
                      <a:pt x="8974" y="7205"/>
                    </a:lnTo>
                    <a:lnTo>
                      <a:pt x="31852" y="7205"/>
                    </a:lnTo>
                    <a:lnTo>
                      <a:pt x="31852" y="0"/>
                    </a:lnTo>
                    <a:lnTo>
                      <a:pt x="0" y="0"/>
                    </a:lnTo>
                    <a:close/>
                  </a:path>
                </a:pathLst>
              </a:custGeom>
              <a:grpFill/>
              <a:ln w="12519" cap="flat">
                <a:noFill/>
                <a:prstDash val="solid"/>
                <a:miter/>
              </a:ln>
            </p:spPr>
            <p:txBody>
              <a:bodyPr rtlCol="0" anchor="ctr"/>
              <a:lstStyle/>
              <a:p>
                <a:endParaRPr lang="de-DE" b="1"/>
              </a:p>
            </p:txBody>
          </p:sp>
          <p:sp>
            <p:nvSpPr>
              <p:cNvPr id="54" name="Freihandform: Form 53">
                <a:extLst>
                  <a:ext uri="{FF2B5EF4-FFF2-40B4-BE49-F238E27FC236}">
                    <a16:creationId xmlns:a16="http://schemas.microsoft.com/office/drawing/2014/main" id="{AF79634C-03BB-AC0C-4432-EF4C9A5AAF48}"/>
                  </a:ext>
                </a:extLst>
              </p:cNvPr>
              <p:cNvSpPr/>
              <p:nvPr/>
            </p:nvSpPr>
            <p:spPr>
              <a:xfrm>
                <a:off x="12811152" y="1219820"/>
                <a:ext cx="35390" cy="50685"/>
              </a:xfrm>
              <a:custGeom>
                <a:avLst/>
                <a:gdLst>
                  <a:gd name="connsiteX0" fmla="*/ 18327 w 35390"/>
                  <a:gd name="connsiteY0" fmla="*/ 50685 h 50685"/>
                  <a:gd name="connsiteX1" fmla="*/ 8848 w 35390"/>
                  <a:gd name="connsiteY1" fmla="*/ 48789 h 50685"/>
                  <a:gd name="connsiteX2" fmla="*/ 2402 w 35390"/>
                  <a:gd name="connsiteY2" fmla="*/ 43480 h 50685"/>
                  <a:gd name="connsiteX3" fmla="*/ 0 w 35390"/>
                  <a:gd name="connsiteY3" fmla="*/ 35012 h 50685"/>
                  <a:gd name="connsiteX4" fmla="*/ 9353 w 35390"/>
                  <a:gd name="connsiteY4" fmla="*/ 35012 h 50685"/>
                  <a:gd name="connsiteX5" fmla="*/ 11881 w 35390"/>
                  <a:gd name="connsiteY5" fmla="*/ 40826 h 50685"/>
                  <a:gd name="connsiteX6" fmla="*/ 18327 w 35390"/>
                  <a:gd name="connsiteY6" fmla="*/ 43228 h 50685"/>
                  <a:gd name="connsiteX7" fmla="*/ 24015 w 35390"/>
                  <a:gd name="connsiteY7" fmla="*/ 41458 h 50685"/>
                  <a:gd name="connsiteX8" fmla="*/ 26164 w 35390"/>
                  <a:gd name="connsiteY8" fmla="*/ 36908 h 50685"/>
                  <a:gd name="connsiteX9" fmla="*/ 24268 w 35390"/>
                  <a:gd name="connsiteY9" fmla="*/ 32231 h 50685"/>
                  <a:gd name="connsiteX10" fmla="*/ 19339 w 35390"/>
                  <a:gd name="connsiteY10" fmla="*/ 29450 h 50685"/>
                  <a:gd name="connsiteX11" fmla="*/ 12766 w 35390"/>
                  <a:gd name="connsiteY11" fmla="*/ 27175 h 50685"/>
                  <a:gd name="connsiteX12" fmla="*/ 4171 w 35390"/>
                  <a:gd name="connsiteY12" fmla="*/ 22119 h 50685"/>
                  <a:gd name="connsiteX13" fmla="*/ 1264 w 35390"/>
                  <a:gd name="connsiteY13" fmla="*/ 13904 h 50685"/>
                  <a:gd name="connsiteX14" fmla="*/ 3286 w 35390"/>
                  <a:gd name="connsiteY14" fmla="*/ 6446 h 50685"/>
                  <a:gd name="connsiteX15" fmla="*/ 9101 w 35390"/>
                  <a:gd name="connsiteY15" fmla="*/ 1643 h 50685"/>
                  <a:gd name="connsiteX16" fmla="*/ 17569 w 35390"/>
                  <a:gd name="connsiteY16" fmla="*/ 0 h 50685"/>
                  <a:gd name="connsiteX17" fmla="*/ 26164 w 35390"/>
                  <a:gd name="connsiteY17" fmla="*/ 1770 h 50685"/>
                  <a:gd name="connsiteX18" fmla="*/ 31978 w 35390"/>
                  <a:gd name="connsiteY18" fmla="*/ 6699 h 50685"/>
                  <a:gd name="connsiteX19" fmla="*/ 34253 w 35390"/>
                  <a:gd name="connsiteY19" fmla="*/ 14156 h 50685"/>
                  <a:gd name="connsiteX20" fmla="*/ 24647 w 35390"/>
                  <a:gd name="connsiteY20" fmla="*/ 14156 h 50685"/>
                  <a:gd name="connsiteX21" fmla="*/ 22625 w 35390"/>
                  <a:gd name="connsiteY21" fmla="*/ 9606 h 50685"/>
                  <a:gd name="connsiteX22" fmla="*/ 17316 w 35390"/>
                  <a:gd name="connsiteY22" fmla="*/ 7584 h 50685"/>
                  <a:gd name="connsiteX23" fmla="*/ 12387 w 35390"/>
                  <a:gd name="connsiteY23" fmla="*/ 8974 h 50685"/>
                  <a:gd name="connsiteX24" fmla="*/ 10365 w 35390"/>
                  <a:gd name="connsiteY24" fmla="*/ 13398 h 50685"/>
                  <a:gd name="connsiteX25" fmla="*/ 11881 w 35390"/>
                  <a:gd name="connsiteY25" fmla="*/ 17316 h 50685"/>
                  <a:gd name="connsiteX26" fmla="*/ 16052 w 35390"/>
                  <a:gd name="connsiteY26" fmla="*/ 19718 h 50685"/>
                  <a:gd name="connsiteX27" fmla="*/ 22119 w 35390"/>
                  <a:gd name="connsiteY27" fmla="*/ 21740 h 50685"/>
                  <a:gd name="connsiteX28" fmla="*/ 28818 w 35390"/>
                  <a:gd name="connsiteY28" fmla="*/ 24647 h 50685"/>
                  <a:gd name="connsiteX29" fmla="*/ 33621 w 35390"/>
                  <a:gd name="connsiteY29" fmla="*/ 29071 h 50685"/>
                  <a:gd name="connsiteX30" fmla="*/ 35391 w 35390"/>
                  <a:gd name="connsiteY30" fmla="*/ 36149 h 50685"/>
                  <a:gd name="connsiteX31" fmla="*/ 33369 w 35390"/>
                  <a:gd name="connsiteY31" fmla="*/ 43228 h 50685"/>
                  <a:gd name="connsiteX32" fmla="*/ 27554 w 35390"/>
                  <a:gd name="connsiteY32" fmla="*/ 48536 h 50685"/>
                  <a:gd name="connsiteX33" fmla="*/ 18075 w 35390"/>
                  <a:gd name="connsiteY33" fmla="*/ 50559 h 50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5390" h="50685">
                    <a:moveTo>
                      <a:pt x="18327" y="50685"/>
                    </a:moveTo>
                    <a:cubicBezTo>
                      <a:pt x="14788" y="50685"/>
                      <a:pt x="11628" y="50053"/>
                      <a:pt x="8848" y="48789"/>
                    </a:cubicBezTo>
                    <a:cubicBezTo>
                      <a:pt x="6067" y="47525"/>
                      <a:pt x="3918" y="45756"/>
                      <a:pt x="2402" y="43480"/>
                    </a:cubicBezTo>
                    <a:cubicBezTo>
                      <a:pt x="885" y="41205"/>
                      <a:pt x="0" y="38298"/>
                      <a:pt x="0" y="35012"/>
                    </a:cubicBezTo>
                    <a:lnTo>
                      <a:pt x="9353" y="35012"/>
                    </a:lnTo>
                    <a:cubicBezTo>
                      <a:pt x="9353" y="37287"/>
                      <a:pt x="10238" y="39183"/>
                      <a:pt x="11881" y="40826"/>
                    </a:cubicBezTo>
                    <a:cubicBezTo>
                      <a:pt x="13398" y="42343"/>
                      <a:pt x="15547" y="43228"/>
                      <a:pt x="18327" y="43228"/>
                    </a:cubicBezTo>
                    <a:cubicBezTo>
                      <a:pt x="20729" y="43228"/>
                      <a:pt x="22625" y="42722"/>
                      <a:pt x="24015" y="41458"/>
                    </a:cubicBezTo>
                    <a:cubicBezTo>
                      <a:pt x="25406" y="40321"/>
                      <a:pt x="26164" y="38804"/>
                      <a:pt x="26164" y="36908"/>
                    </a:cubicBezTo>
                    <a:cubicBezTo>
                      <a:pt x="26164" y="35012"/>
                      <a:pt x="25532" y="33369"/>
                      <a:pt x="24268" y="32231"/>
                    </a:cubicBezTo>
                    <a:cubicBezTo>
                      <a:pt x="23004" y="31094"/>
                      <a:pt x="21361" y="30209"/>
                      <a:pt x="19339" y="29450"/>
                    </a:cubicBezTo>
                    <a:cubicBezTo>
                      <a:pt x="17316" y="28818"/>
                      <a:pt x="15168" y="28060"/>
                      <a:pt x="12766" y="27175"/>
                    </a:cubicBezTo>
                    <a:cubicBezTo>
                      <a:pt x="8974" y="25911"/>
                      <a:pt x="6067" y="24142"/>
                      <a:pt x="4171" y="22119"/>
                    </a:cubicBezTo>
                    <a:cubicBezTo>
                      <a:pt x="2149" y="20097"/>
                      <a:pt x="1264" y="17316"/>
                      <a:pt x="1264" y="13904"/>
                    </a:cubicBezTo>
                    <a:cubicBezTo>
                      <a:pt x="1264" y="10997"/>
                      <a:pt x="1896" y="8595"/>
                      <a:pt x="3286" y="6446"/>
                    </a:cubicBezTo>
                    <a:cubicBezTo>
                      <a:pt x="4677" y="4424"/>
                      <a:pt x="6699" y="2781"/>
                      <a:pt x="9101" y="1643"/>
                    </a:cubicBezTo>
                    <a:cubicBezTo>
                      <a:pt x="11628" y="506"/>
                      <a:pt x="14409" y="0"/>
                      <a:pt x="17569" y="0"/>
                    </a:cubicBezTo>
                    <a:cubicBezTo>
                      <a:pt x="20729" y="0"/>
                      <a:pt x="23763" y="632"/>
                      <a:pt x="26164" y="1770"/>
                    </a:cubicBezTo>
                    <a:cubicBezTo>
                      <a:pt x="28692" y="2907"/>
                      <a:pt x="30588" y="4550"/>
                      <a:pt x="31978" y="6699"/>
                    </a:cubicBezTo>
                    <a:cubicBezTo>
                      <a:pt x="33369" y="8721"/>
                      <a:pt x="34127" y="11249"/>
                      <a:pt x="34253" y="14156"/>
                    </a:cubicBezTo>
                    <a:lnTo>
                      <a:pt x="24647" y="14156"/>
                    </a:lnTo>
                    <a:cubicBezTo>
                      <a:pt x="24647" y="12387"/>
                      <a:pt x="23889" y="10870"/>
                      <a:pt x="22625" y="9606"/>
                    </a:cubicBezTo>
                    <a:cubicBezTo>
                      <a:pt x="21361" y="8342"/>
                      <a:pt x="19591" y="7584"/>
                      <a:pt x="17316" y="7584"/>
                    </a:cubicBezTo>
                    <a:cubicBezTo>
                      <a:pt x="15420" y="7584"/>
                      <a:pt x="13777" y="8089"/>
                      <a:pt x="12387" y="8974"/>
                    </a:cubicBezTo>
                    <a:cubicBezTo>
                      <a:pt x="11123" y="9985"/>
                      <a:pt x="10365" y="11376"/>
                      <a:pt x="10365" y="13398"/>
                    </a:cubicBezTo>
                    <a:cubicBezTo>
                      <a:pt x="10365" y="15041"/>
                      <a:pt x="10870" y="16305"/>
                      <a:pt x="11881" y="17316"/>
                    </a:cubicBezTo>
                    <a:cubicBezTo>
                      <a:pt x="12892" y="18328"/>
                      <a:pt x="14283" y="19086"/>
                      <a:pt x="16052" y="19718"/>
                    </a:cubicBezTo>
                    <a:cubicBezTo>
                      <a:pt x="17822" y="20350"/>
                      <a:pt x="19844" y="21108"/>
                      <a:pt x="22119" y="21740"/>
                    </a:cubicBezTo>
                    <a:cubicBezTo>
                      <a:pt x="24521" y="22625"/>
                      <a:pt x="26796" y="23510"/>
                      <a:pt x="28818" y="24647"/>
                    </a:cubicBezTo>
                    <a:cubicBezTo>
                      <a:pt x="30841" y="25785"/>
                      <a:pt x="32484" y="27302"/>
                      <a:pt x="33621" y="29071"/>
                    </a:cubicBezTo>
                    <a:cubicBezTo>
                      <a:pt x="34885" y="30967"/>
                      <a:pt x="35391" y="33242"/>
                      <a:pt x="35391" y="36149"/>
                    </a:cubicBezTo>
                    <a:cubicBezTo>
                      <a:pt x="35391" y="38677"/>
                      <a:pt x="34759" y="41079"/>
                      <a:pt x="33369" y="43228"/>
                    </a:cubicBezTo>
                    <a:cubicBezTo>
                      <a:pt x="32105" y="45376"/>
                      <a:pt x="30082" y="47146"/>
                      <a:pt x="27554" y="48536"/>
                    </a:cubicBezTo>
                    <a:cubicBezTo>
                      <a:pt x="25026" y="49927"/>
                      <a:pt x="21867" y="50559"/>
                      <a:pt x="18075" y="50559"/>
                    </a:cubicBezTo>
                  </a:path>
                </a:pathLst>
              </a:custGeom>
              <a:grpFill/>
              <a:ln w="12519" cap="flat">
                <a:noFill/>
                <a:prstDash val="solid"/>
                <a:miter/>
              </a:ln>
            </p:spPr>
            <p:txBody>
              <a:bodyPr rtlCol="0" anchor="ctr"/>
              <a:lstStyle/>
              <a:p>
                <a:endParaRPr lang="de-DE" b="1"/>
              </a:p>
            </p:txBody>
          </p:sp>
        </p:grpSp>
        <p:sp>
          <p:nvSpPr>
            <p:cNvPr id="20" name="Freihandform: Form 19">
              <a:extLst>
                <a:ext uri="{FF2B5EF4-FFF2-40B4-BE49-F238E27FC236}">
                  <a16:creationId xmlns:a16="http://schemas.microsoft.com/office/drawing/2014/main" id="{EECC9C38-0423-D374-FD3B-2BDAD656030E}"/>
                </a:ext>
              </a:extLst>
            </p:cNvPr>
            <p:cNvSpPr/>
            <p:nvPr/>
          </p:nvSpPr>
          <p:spPr>
            <a:xfrm>
              <a:off x="11184783" y="753273"/>
              <a:ext cx="149526" cy="195282"/>
            </a:xfrm>
            <a:custGeom>
              <a:avLst/>
              <a:gdLst>
                <a:gd name="connsiteX0" fmla="*/ 0 w 149526"/>
                <a:gd name="connsiteY0" fmla="*/ 195283 h 195282"/>
                <a:gd name="connsiteX1" fmla="*/ 0 w 149526"/>
                <a:gd name="connsiteY1" fmla="*/ 0 h 195282"/>
                <a:gd name="connsiteX2" fmla="*/ 27428 w 149526"/>
                <a:gd name="connsiteY2" fmla="*/ 0 h 195282"/>
                <a:gd name="connsiteX3" fmla="*/ 27428 w 149526"/>
                <a:gd name="connsiteY3" fmla="*/ 48157 h 195282"/>
                <a:gd name="connsiteX4" fmla="*/ 116664 w 149526"/>
                <a:gd name="connsiteY4" fmla="*/ 48157 h 195282"/>
                <a:gd name="connsiteX5" fmla="*/ 133222 w 149526"/>
                <a:gd name="connsiteY5" fmla="*/ 52707 h 195282"/>
                <a:gd name="connsiteX6" fmla="*/ 145103 w 149526"/>
                <a:gd name="connsiteY6" fmla="*/ 64589 h 195282"/>
                <a:gd name="connsiteX7" fmla="*/ 149527 w 149526"/>
                <a:gd name="connsiteY7" fmla="*/ 81020 h 195282"/>
                <a:gd name="connsiteX8" fmla="*/ 149527 w 149526"/>
                <a:gd name="connsiteY8" fmla="*/ 162167 h 195282"/>
                <a:gd name="connsiteX9" fmla="*/ 145103 w 149526"/>
                <a:gd name="connsiteY9" fmla="*/ 178598 h 195282"/>
                <a:gd name="connsiteX10" fmla="*/ 133222 w 149526"/>
                <a:gd name="connsiteY10" fmla="*/ 190479 h 195282"/>
                <a:gd name="connsiteX11" fmla="*/ 116664 w 149526"/>
                <a:gd name="connsiteY11" fmla="*/ 195030 h 195282"/>
                <a:gd name="connsiteX12" fmla="*/ 0 w 149526"/>
                <a:gd name="connsiteY12" fmla="*/ 195030 h 195282"/>
                <a:gd name="connsiteX13" fmla="*/ 33748 w 149526"/>
                <a:gd name="connsiteY13" fmla="*/ 167855 h 195282"/>
                <a:gd name="connsiteX14" fmla="*/ 115906 w 149526"/>
                <a:gd name="connsiteY14" fmla="*/ 167855 h 195282"/>
                <a:gd name="connsiteX15" fmla="*/ 120329 w 149526"/>
                <a:gd name="connsiteY15" fmla="*/ 165959 h 195282"/>
                <a:gd name="connsiteX16" fmla="*/ 122225 w 149526"/>
                <a:gd name="connsiteY16" fmla="*/ 161535 h 195282"/>
                <a:gd name="connsiteX17" fmla="*/ 122225 w 149526"/>
                <a:gd name="connsiteY17" fmla="*/ 81905 h 195282"/>
                <a:gd name="connsiteX18" fmla="*/ 120329 w 149526"/>
                <a:gd name="connsiteY18" fmla="*/ 77481 h 195282"/>
                <a:gd name="connsiteX19" fmla="*/ 115906 w 149526"/>
                <a:gd name="connsiteY19" fmla="*/ 75585 h 195282"/>
                <a:gd name="connsiteX20" fmla="*/ 33748 w 149526"/>
                <a:gd name="connsiteY20" fmla="*/ 75585 h 195282"/>
                <a:gd name="connsiteX21" fmla="*/ 29324 w 149526"/>
                <a:gd name="connsiteY21" fmla="*/ 77481 h 195282"/>
                <a:gd name="connsiteX22" fmla="*/ 27428 w 149526"/>
                <a:gd name="connsiteY22" fmla="*/ 81905 h 195282"/>
                <a:gd name="connsiteX23" fmla="*/ 27428 w 149526"/>
                <a:gd name="connsiteY23" fmla="*/ 161535 h 195282"/>
                <a:gd name="connsiteX24" fmla="*/ 29324 w 149526"/>
                <a:gd name="connsiteY24" fmla="*/ 165959 h 195282"/>
                <a:gd name="connsiteX25" fmla="*/ 33748 w 149526"/>
                <a:gd name="connsiteY25" fmla="*/ 167855 h 19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526" h="195282">
                  <a:moveTo>
                    <a:pt x="0" y="195283"/>
                  </a:moveTo>
                  <a:lnTo>
                    <a:pt x="0" y="0"/>
                  </a:lnTo>
                  <a:lnTo>
                    <a:pt x="27428" y="0"/>
                  </a:lnTo>
                  <a:lnTo>
                    <a:pt x="27428" y="48157"/>
                  </a:lnTo>
                  <a:lnTo>
                    <a:pt x="116664" y="48157"/>
                  </a:lnTo>
                  <a:cubicBezTo>
                    <a:pt x="122731" y="48157"/>
                    <a:pt x="128292" y="49674"/>
                    <a:pt x="133222" y="52707"/>
                  </a:cubicBezTo>
                  <a:cubicBezTo>
                    <a:pt x="138151" y="55741"/>
                    <a:pt x="142196" y="59786"/>
                    <a:pt x="145103" y="64589"/>
                  </a:cubicBezTo>
                  <a:cubicBezTo>
                    <a:pt x="148010" y="69518"/>
                    <a:pt x="149527" y="74953"/>
                    <a:pt x="149527" y="81020"/>
                  </a:cubicBezTo>
                  <a:lnTo>
                    <a:pt x="149527" y="162167"/>
                  </a:lnTo>
                  <a:cubicBezTo>
                    <a:pt x="149527" y="168234"/>
                    <a:pt x="148010" y="173795"/>
                    <a:pt x="145103" y="178598"/>
                  </a:cubicBezTo>
                  <a:cubicBezTo>
                    <a:pt x="142196" y="183528"/>
                    <a:pt x="138151" y="187446"/>
                    <a:pt x="133222" y="190479"/>
                  </a:cubicBezTo>
                  <a:cubicBezTo>
                    <a:pt x="128166" y="193513"/>
                    <a:pt x="122731" y="195030"/>
                    <a:pt x="116664" y="195030"/>
                  </a:cubicBezTo>
                  <a:lnTo>
                    <a:pt x="0" y="195030"/>
                  </a:lnTo>
                  <a:close/>
                  <a:moveTo>
                    <a:pt x="33748" y="167855"/>
                  </a:moveTo>
                  <a:lnTo>
                    <a:pt x="115906" y="167855"/>
                  </a:lnTo>
                  <a:cubicBezTo>
                    <a:pt x="117549" y="167855"/>
                    <a:pt x="119065" y="167223"/>
                    <a:pt x="120329" y="165959"/>
                  </a:cubicBezTo>
                  <a:cubicBezTo>
                    <a:pt x="121593" y="164695"/>
                    <a:pt x="122225" y="163178"/>
                    <a:pt x="122225" y="161535"/>
                  </a:cubicBezTo>
                  <a:lnTo>
                    <a:pt x="122225" y="81905"/>
                  </a:lnTo>
                  <a:cubicBezTo>
                    <a:pt x="122225" y="80262"/>
                    <a:pt x="121593" y="78745"/>
                    <a:pt x="120329" y="77481"/>
                  </a:cubicBezTo>
                  <a:cubicBezTo>
                    <a:pt x="119065" y="76217"/>
                    <a:pt x="117549" y="75585"/>
                    <a:pt x="115906" y="75585"/>
                  </a:cubicBezTo>
                  <a:lnTo>
                    <a:pt x="33748" y="75585"/>
                  </a:lnTo>
                  <a:cubicBezTo>
                    <a:pt x="31978" y="75585"/>
                    <a:pt x="30588" y="76217"/>
                    <a:pt x="29324" y="77481"/>
                  </a:cubicBezTo>
                  <a:cubicBezTo>
                    <a:pt x="28060" y="78745"/>
                    <a:pt x="27428" y="80262"/>
                    <a:pt x="27428" y="81905"/>
                  </a:cubicBezTo>
                  <a:lnTo>
                    <a:pt x="27428" y="161535"/>
                  </a:lnTo>
                  <a:cubicBezTo>
                    <a:pt x="27428" y="163178"/>
                    <a:pt x="28060" y="164695"/>
                    <a:pt x="29324" y="165959"/>
                  </a:cubicBezTo>
                  <a:cubicBezTo>
                    <a:pt x="30588" y="167223"/>
                    <a:pt x="32105" y="167855"/>
                    <a:pt x="33748" y="167855"/>
                  </a:cubicBezTo>
                </a:path>
              </a:pathLst>
            </a:custGeom>
            <a:solidFill>
              <a:srgbClr val="FFFFFF"/>
            </a:solidFill>
            <a:ln w="12519" cap="flat">
              <a:noFill/>
              <a:prstDash val="solid"/>
              <a:miter/>
            </a:ln>
          </p:spPr>
          <p:txBody>
            <a:bodyPr rtlCol="0" anchor="ctr"/>
            <a:lstStyle/>
            <a:p>
              <a:endParaRPr lang="de-DE" b="1"/>
            </a:p>
          </p:txBody>
        </p:sp>
        <p:sp>
          <p:nvSpPr>
            <p:cNvPr id="21" name="Freihandform: Form 20">
              <a:extLst>
                <a:ext uri="{FF2B5EF4-FFF2-40B4-BE49-F238E27FC236}">
                  <a16:creationId xmlns:a16="http://schemas.microsoft.com/office/drawing/2014/main" id="{1FBC71D2-A2CA-0BDE-A0ED-2F0A9FAC85B5}"/>
                </a:ext>
              </a:extLst>
            </p:cNvPr>
            <p:cNvSpPr/>
            <p:nvPr/>
          </p:nvSpPr>
          <p:spPr>
            <a:xfrm>
              <a:off x="11403322" y="802062"/>
              <a:ext cx="149653" cy="202739"/>
            </a:xfrm>
            <a:custGeom>
              <a:avLst/>
              <a:gdLst>
                <a:gd name="connsiteX0" fmla="*/ 25785 w 149653"/>
                <a:gd name="connsiteY0" fmla="*/ 202740 h 202739"/>
                <a:gd name="connsiteX1" fmla="*/ 25785 w 149653"/>
                <a:gd name="connsiteY1" fmla="*/ 175059 h 202739"/>
                <a:gd name="connsiteX2" fmla="*/ 115779 w 149653"/>
                <a:gd name="connsiteY2" fmla="*/ 175059 h 202739"/>
                <a:gd name="connsiteX3" fmla="*/ 120203 w 149653"/>
                <a:gd name="connsiteY3" fmla="*/ 173163 h 202739"/>
                <a:gd name="connsiteX4" fmla="*/ 122099 w 149653"/>
                <a:gd name="connsiteY4" fmla="*/ 168739 h 202739"/>
                <a:gd name="connsiteX5" fmla="*/ 122099 w 149653"/>
                <a:gd name="connsiteY5" fmla="*/ 146494 h 202739"/>
                <a:gd name="connsiteX6" fmla="*/ 32863 w 149653"/>
                <a:gd name="connsiteY6" fmla="*/ 146494 h 202739"/>
                <a:gd name="connsiteX7" fmla="*/ 16432 w 149653"/>
                <a:gd name="connsiteY7" fmla="*/ 142070 h 202739"/>
                <a:gd name="connsiteX8" fmla="*/ 4424 w 149653"/>
                <a:gd name="connsiteY8" fmla="*/ 130062 h 202739"/>
                <a:gd name="connsiteX9" fmla="*/ 0 w 149653"/>
                <a:gd name="connsiteY9" fmla="*/ 113630 h 202739"/>
                <a:gd name="connsiteX10" fmla="*/ 0 w 149653"/>
                <a:gd name="connsiteY10" fmla="*/ 0 h 202739"/>
                <a:gd name="connsiteX11" fmla="*/ 27428 w 149653"/>
                <a:gd name="connsiteY11" fmla="*/ 0 h 202739"/>
                <a:gd name="connsiteX12" fmla="*/ 27428 w 149653"/>
                <a:gd name="connsiteY12" fmla="*/ 112872 h 202739"/>
                <a:gd name="connsiteX13" fmla="*/ 29324 w 149653"/>
                <a:gd name="connsiteY13" fmla="*/ 117296 h 202739"/>
                <a:gd name="connsiteX14" fmla="*/ 33748 w 149653"/>
                <a:gd name="connsiteY14" fmla="*/ 119192 h 202739"/>
                <a:gd name="connsiteX15" fmla="*/ 115906 w 149653"/>
                <a:gd name="connsiteY15" fmla="*/ 119192 h 202739"/>
                <a:gd name="connsiteX16" fmla="*/ 120329 w 149653"/>
                <a:gd name="connsiteY16" fmla="*/ 117296 h 202739"/>
                <a:gd name="connsiteX17" fmla="*/ 122225 w 149653"/>
                <a:gd name="connsiteY17" fmla="*/ 112872 h 202739"/>
                <a:gd name="connsiteX18" fmla="*/ 122225 w 149653"/>
                <a:gd name="connsiteY18" fmla="*/ 0 h 202739"/>
                <a:gd name="connsiteX19" fmla="*/ 149653 w 149653"/>
                <a:gd name="connsiteY19" fmla="*/ 0 h 202739"/>
                <a:gd name="connsiteX20" fmla="*/ 149653 w 149653"/>
                <a:gd name="connsiteY20" fmla="*/ 169877 h 202739"/>
                <a:gd name="connsiteX21" fmla="*/ 145229 w 149653"/>
                <a:gd name="connsiteY21" fmla="*/ 186435 h 202739"/>
                <a:gd name="connsiteX22" fmla="*/ 133348 w 149653"/>
                <a:gd name="connsiteY22" fmla="*/ 198316 h 202739"/>
                <a:gd name="connsiteX23" fmla="*/ 116790 w 149653"/>
                <a:gd name="connsiteY23" fmla="*/ 202740 h 202739"/>
                <a:gd name="connsiteX24" fmla="*/ 26038 w 149653"/>
                <a:gd name="connsiteY24" fmla="*/ 202740 h 20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653" h="202739">
                  <a:moveTo>
                    <a:pt x="25785" y="202740"/>
                  </a:moveTo>
                  <a:lnTo>
                    <a:pt x="25785" y="175059"/>
                  </a:lnTo>
                  <a:lnTo>
                    <a:pt x="115779" y="175059"/>
                  </a:lnTo>
                  <a:cubicBezTo>
                    <a:pt x="117422" y="175059"/>
                    <a:pt x="118939" y="174427"/>
                    <a:pt x="120203" y="173163"/>
                  </a:cubicBezTo>
                  <a:cubicBezTo>
                    <a:pt x="121467" y="171899"/>
                    <a:pt x="122099" y="170382"/>
                    <a:pt x="122099" y="168739"/>
                  </a:cubicBezTo>
                  <a:lnTo>
                    <a:pt x="122099" y="146494"/>
                  </a:lnTo>
                  <a:lnTo>
                    <a:pt x="32863" y="146494"/>
                  </a:lnTo>
                  <a:cubicBezTo>
                    <a:pt x="26922" y="146494"/>
                    <a:pt x="21487" y="144977"/>
                    <a:pt x="16432" y="142070"/>
                  </a:cubicBezTo>
                  <a:cubicBezTo>
                    <a:pt x="11376" y="139163"/>
                    <a:pt x="7331" y="135118"/>
                    <a:pt x="4424" y="130062"/>
                  </a:cubicBezTo>
                  <a:cubicBezTo>
                    <a:pt x="1517" y="125006"/>
                    <a:pt x="0" y="119445"/>
                    <a:pt x="0" y="113630"/>
                  </a:cubicBezTo>
                  <a:lnTo>
                    <a:pt x="0" y="0"/>
                  </a:lnTo>
                  <a:lnTo>
                    <a:pt x="27428" y="0"/>
                  </a:lnTo>
                  <a:lnTo>
                    <a:pt x="27428" y="112872"/>
                  </a:lnTo>
                  <a:cubicBezTo>
                    <a:pt x="27428" y="114515"/>
                    <a:pt x="28060" y="116032"/>
                    <a:pt x="29324" y="117296"/>
                  </a:cubicBezTo>
                  <a:cubicBezTo>
                    <a:pt x="30588" y="118560"/>
                    <a:pt x="32105" y="119192"/>
                    <a:pt x="33748" y="119192"/>
                  </a:cubicBezTo>
                  <a:lnTo>
                    <a:pt x="115906" y="119192"/>
                  </a:lnTo>
                  <a:cubicBezTo>
                    <a:pt x="117549" y="119192"/>
                    <a:pt x="119065" y="118560"/>
                    <a:pt x="120329" y="117296"/>
                  </a:cubicBezTo>
                  <a:cubicBezTo>
                    <a:pt x="121593" y="116032"/>
                    <a:pt x="122225" y="114515"/>
                    <a:pt x="122225" y="112872"/>
                  </a:cubicBezTo>
                  <a:lnTo>
                    <a:pt x="122225" y="0"/>
                  </a:lnTo>
                  <a:lnTo>
                    <a:pt x="149653" y="0"/>
                  </a:lnTo>
                  <a:lnTo>
                    <a:pt x="149653" y="169877"/>
                  </a:lnTo>
                  <a:cubicBezTo>
                    <a:pt x="149653" y="175944"/>
                    <a:pt x="148137" y="181505"/>
                    <a:pt x="145229" y="186435"/>
                  </a:cubicBezTo>
                  <a:cubicBezTo>
                    <a:pt x="142196" y="191364"/>
                    <a:pt x="138278" y="195409"/>
                    <a:pt x="133348" y="198316"/>
                  </a:cubicBezTo>
                  <a:cubicBezTo>
                    <a:pt x="128419" y="201223"/>
                    <a:pt x="122857" y="202740"/>
                    <a:pt x="116790" y="202740"/>
                  </a:cubicBezTo>
                  <a:lnTo>
                    <a:pt x="26038" y="202740"/>
                  </a:lnTo>
                  <a:close/>
                </a:path>
              </a:pathLst>
            </a:custGeom>
            <a:solidFill>
              <a:srgbClr val="FFFFFF"/>
            </a:solidFill>
            <a:ln w="12519" cap="flat">
              <a:noFill/>
              <a:prstDash val="solid"/>
              <a:miter/>
            </a:ln>
          </p:spPr>
          <p:txBody>
            <a:bodyPr rtlCol="0" anchor="ctr"/>
            <a:lstStyle/>
            <a:p>
              <a:endParaRPr lang="de-DE" b="1"/>
            </a:p>
          </p:txBody>
        </p:sp>
        <p:sp>
          <p:nvSpPr>
            <p:cNvPr id="22" name="Freihandform: Form 21">
              <a:extLst>
                <a:ext uri="{FF2B5EF4-FFF2-40B4-BE49-F238E27FC236}">
                  <a16:creationId xmlns:a16="http://schemas.microsoft.com/office/drawing/2014/main" id="{15EAA11E-F81E-DD39-07A0-B83425AAE459}"/>
                </a:ext>
              </a:extLst>
            </p:cNvPr>
            <p:cNvSpPr/>
            <p:nvPr/>
          </p:nvSpPr>
          <p:spPr>
            <a:xfrm>
              <a:off x="11623126" y="755042"/>
              <a:ext cx="87719" cy="193512"/>
            </a:xfrm>
            <a:custGeom>
              <a:avLst/>
              <a:gdLst>
                <a:gd name="connsiteX0" fmla="*/ 16305 w 87719"/>
                <a:gd name="connsiteY0" fmla="*/ 188836 h 193512"/>
                <a:gd name="connsiteX1" fmla="*/ 4424 w 87719"/>
                <a:gd name="connsiteY1" fmla="*/ 176955 h 193512"/>
                <a:gd name="connsiteX2" fmla="*/ 0 w 87719"/>
                <a:gd name="connsiteY2" fmla="*/ 160524 h 193512"/>
                <a:gd name="connsiteX3" fmla="*/ 0 w 87719"/>
                <a:gd name="connsiteY3" fmla="*/ 0 h 193512"/>
                <a:gd name="connsiteX4" fmla="*/ 27428 w 87719"/>
                <a:gd name="connsiteY4" fmla="*/ 0 h 193512"/>
                <a:gd name="connsiteX5" fmla="*/ 27428 w 87719"/>
                <a:gd name="connsiteY5" fmla="*/ 46387 h 193512"/>
                <a:gd name="connsiteX6" fmla="*/ 87719 w 87719"/>
                <a:gd name="connsiteY6" fmla="*/ 46387 h 193512"/>
                <a:gd name="connsiteX7" fmla="*/ 87719 w 87719"/>
                <a:gd name="connsiteY7" fmla="*/ 73816 h 193512"/>
                <a:gd name="connsiteX8" fmla="*/ 27428 w 87719"/>
                <a:gd name="connsiteY8" fmla="*/ 73816 h 193512"/>
                <a:gd name="connsiteX9" fmla="*/ 27428 w 87719"/>
                <a:gd name="connsiteY9" fmla="*/ 159765 h 193512"/>
                <a:gd name="connsiteX10" fmla="*/ 29324 w 87719"/>
                <a:gd name="connsiteY10" fmla="*/ 164189 h 193512"/>
                <a:gd name="connsiteX11" fmla="*/ 33748 w 87719"/>
                <a:gd name="connsiteY11" fmla="*/ 166085 h 193512"/>
                <a:gd name="connsiteX12" fmla="*/ 87719 w 87719"/>
                <a:gd name="connsiteY12" fmla="*/ 166085 h 193512"/>
                <a:gd name="connsiteX13" fmla="*/ 87719 w 87719"/>
                <a:gd name="connsiteY13" fmla="*/ 193513 h 193512"/>
                <a:gd name="connsiteX14" fmla="*/ 32989 w 87719"/>
                <a:gd name="connsiteY14" fmla="*/ 193513 h 193512"/>
                <a:gd name="connsiteX15" fmla="*/ 16432 w 87719"/>
                <a:gd name="connsiteY15" fmla="*/ 188963 h 193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7719" h="193512">
                  <a:moveTo>
                    <a:pt x="16305" y="188836"/>
                  </a:moveTo>
                  <a:cubicBezTo>
                    <a:pt x="11249" y="185803"/>
                    <a:pt x="7331" y="181758"/>
                    <a:pt x="4424" y="176955"/>
                  </a:cubicBezTo>
                  <a:cubicBezTo>
                    <a:pt x="1517" y="172026"/>
                    <a:pt x="0" y="166591"/>
                    <a:pt x="0" y="160524"/>
                  </a:cubicBezTo>
                  <a:lnTo>
                    <a:pt x="0" y="0"/>
                  </a:lnTo>
                  <a:lnTo>
                    <a:pt x="27428" y="0"/>
                  </a:lnTo>
                  <a:lnTo>
                    <a:pt x="27428" y="46387"/>
                  </a:lnTo>
                  <a:lnTo>
                    <a:pt x="87719" y="46387"/>
                  </a:lnTo>
                  <a:lnTo>
                    <a:pt x="87719" y="73816"/>
                  </a:lnTo>
                  <a:lnTo>
                    <a:pt x="27428" y="73816"/>
                  </a:lnTo>
                  <a:lnTo>
                    <a:pt x="27428" y="159765"/>
                  </a:lnTo>
                  <a:cubicBezTo>
                    <a:pt x="27428" y="161408"/>
                    <a:pt x="28060" y="162925"/>
                    <a:pt x="29324" y="164189"/>
                  </a:cubicBezTo>
                  <a:cubicBezTo>
                    <a:pt x="30588" y="165453"/>
                    <a:pt x="32105" y="166085"/>
                    <a:pt x="33748" y="166085"/>
                  </a:cubicBezTo>
                  <a:lnTo>
                    <a:pt x="87719" y="166085"/>
                  </a:lnTo>
                  <a:lnTo>
                    <a:pt x="87719" y="193513"/>
                  </a:lnTo>
                  <a:lnTo>
                    <a:pt x="32989" y="193513"/>
                  </a:lnTo>
                  <a:cubicBezTo>
                    <a:pt x="26922" y="193513"/>
                    <a:pt x="21361" y="191996"/>
                    <a:pt x="16432" y="188963"/>
                  </a:cubicBezTo>
                </a:path>
              </a:pathLst>
            </a:custGeom>
            <a:solidFill>
              <a:srgbClr val="FFFFFF"/>
            </a:solidFill>
            <a:ln w="12519" cap="flat">
              <a:noFill/>
              <a:prstDash val="solid"/>
              <a:miter/>
            </a:ln>
          </p:spPr>
          <p:txBody>
            <a:bodyPr rtlCol="0" anchor="ctr"/>
            <a:lstStyle/>
            <a:p>
              <a:endParaRPr lang="de-DE" b="1"/>
            </a:p>
          </p:txBody>
        </p:sp>
        <p:sp>
          <p:nvSpPr>
            <p:cNvPr id="23" name="Freihandform: Form 22">
              <a:extLst>
                <a:ext uri="{FF2B5EF4-FFF2-40B4-BE49-F238E27FC236}">
                  <a16:creationId xmlns:a16="http://schemas.microsoft.com/office/drawing/2014/main" id="{DCA86326-216C-6E31-A9BE-45DA4EAF90EB}"/>
                </a:ext>
              </a:extLst>
            </p:cNvPr>
            <p:cNvSpPr/>
            <p:nvPr/>
          </p:nvSpPr>
          <p:spPr>
            <a:xfrm>
              <a:off x="11780110" y="801556"/>
              <a:ext cx="149400" cy="146999"/>
            </a:xfrm>
            <a:custGeom>
              <a:avLst/>
              <a:gdLst>
                <a:gd name="connsiteX0" fmla="*/ 16432 w 149400"/>
                <a:gd name="connsiteY0" fmla="*/ 142322 h 146999"/>
                <a:gd name="connsiteX1" fmla="*/ 4550 w 149400"/>
                <a:gd name="connsiteY1" fmla="*/ 130441 h 146999"/>
                <a:gd name="connsiteX2" fmla="*/ 0 w 149400"/>
                <a:gd name="connsiteY2" fmla="*/ 114010 h 146999"/>
                <a:gd name="connsiteX3" fmla="*/ 0 w 149400"/>
                <a:gd name="connsiteY3" fmla="*/ 32863 h 146999"/>
                <a:gd name="connsiteX4" fmla="*/ 4550 w 149400"/>
                <a:gd name="connsiteY4" fmla="*/ 16432 h 146999"/>
                <a:gd name="connsiteX5" fmla="*/ 16432 w 149400"/>
                <a:gd name="connsiteY5" fmla="*/ 4550 h 146999"/>
                <a:gd name="connsiteX6" fmla="*/ 32863 w 149400"/>
                <a:gd name="connsiteY6" fmla="*/ 0 h 146999"/>
                <a:gd name="connsiteX7" fmla="*/ 116537 w 149400"/>
                <a:gd name="connsiteY7" fmla="*/ 0 h 146999"/>
                <a:gd name="connsiteX8" fmla="*/ 133095 w 149400"/>
                <a:gd name="connsiteY8" fmla="*/ 4424 h 146999"/>
                <a:gd name="connsiteX9" fmla="*/ 144977 w 149400"/>
                <a:gd name="connsiteY9" fmla="*/ 16432 h 146999"/>
                <a:gd name="connsiteX10" fmla="*/ 149401 w 149400"/>
                <a:gd name="connsiteY10" fmla="*/ 32863 h 146999"/>
                <a:gd name="connsiteX11" fmla="*/ 149401 w 149400"/>
                <a:gd name="connsiteY11" fmla="*/ 87087 h 146999"/>
                <a:gd name="connsiteX12" fmla="*/ 27175 w 149400"/>
                <a:gd name="connsiteY12" fmla="*/ 87087 h 146999"/>
                <a:gd name="connsiteX13" fmla="*/ 27175 w 149400"/>
                <a:gd name="connsiteY13" fmla="*/ 113251 h 146999"/>
                <a:gd name="connsiteX14" fmla="*/ 29071 w 149400"/>
                <a:gd name="connsiteY14" fmla="*/ 117675 h 146999"/>
                <a:gd name="connsiteX15" fmla="*/ 33495 w 149400"/>
                <a:gd name="connsiteY15" fmla="*/ 119571 h 146999"/>
                <a:gd name="connsiteX16" fmla="*/ 149401 w 149400"/>
                <a:gd name="connsiteY16" fmla="*/ 119571 h 146999"/>
                <a:gd name="connsiteX17" fmla="*/ 149401 w 149400"/>
                <a:gd name="connsiteY17" fmla="*/ 146999 h 146999"/>
                <a:gd name="connsiteX18" fmla="*/ 32737 w 149400"/>
                <a:gd name="connsiteY18" fmla="*/ 146999 h 146999"/>
                <a:gd name="connsiteX19" fmla="*/ 16305 w 149400"/>
                <a:gd name="connsiteY19" fmla="*/ 142449 h 146999"/>
                <a:gd name="connsiteX20" fmla="*/ 27175 w 149400"/>
                <a:gd name="connsiteY20" fmla="*/ 61555 h 146999"/>
                <a:gd name="connsiteX21" fmla="*/ 121720 w 149400"/>
                <a:gd name="connsiteY21" fmla="*/ 61555 h 146999"/>
                <a:gd name="connsiteX22" fmla="*/ 121720 w 149400"/>
                <a:gd name="connsiteY22" fmla="*/ 33621 h 146999"/>
                <a:gd name="connsiteX23" fmla="*/ 119950 w 149400"/>
                <a:gd name="connsiteY23" fmla="*/ 29198 h 146999"/>
                <a:gd name="connsiteX24" fmla="*/ 115653 w 149400"/>
                <a:gd name="connsiteY24" fmla="*/ 27302 h 146999"/>
                <a:gd name="connsiteX25" fmla="*/ 33495 w 149400"/>
                <a:gd name="connsiteY25" fmla="*/ 27302 h 146999"/>
                <a:gd name="connsiteX26" fmla="*/ 29071 w 149400"/>
                <a:gd name="connsiteY26" fmla="*/ 29198 h 146999"/>
                <a:gd name="connsiteX27" fmla="*/ 27175 w 149400"/>
                <a:gd name="connsiteY27" fmla="*/ 33621 h 146999"/>
                <a:gd name="connsiteX28" fmla="*/ 27175 w 149400"/>
                <a:gd name="connsiteY28" fmla="*/ 61555 h 14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9400" h="146999">
                  <a:moveTo>
                    <a:pt x="16432" y="142322"/>
                  </a:moveTo>
                  <a:cubicBezTo>
                    <a:pt x="11502" y="139289"/>
                    <a:pt x="7584" y="135244"/>
                    <a:pt x="4550" y="130441"/>
                  </a:cubicBezTo>
                  <a:cubicBezTo>
                    <a:pt x="1517" y="125638"/>
                    <a:pt x="0" y="120077"/>
                    <a:pt x="0" y="114010"/>
                  </a:cubicBezTo>
                  <a:lnTo>
                    <a:pt x="0" y="32863"/>
                  </a:lnTo>
                  <a:cubicBezTo>
                    <a:pt x="0" y="26796"/>
                    <a:pt x="1517" y="21235"/>
                    <a:pt x="4550" y="16432"/>
                  </a:cubicBezTo>
                  <a:cubicBezTo>
                    <a:pt x="7584" y="11502"/>
                    <a:pt x="11628" y="7584"/>
                    <a:pt x="16432" y="4550"/>
                  </a:cubicBezTo>
                  <a:cubicBezTo>
                    <a:pt x="21361" y="1517"/>
                    <a:pt x="26796" y="0"/>
                    <a:pt x="32863" y="0"/>
                  </a:cubicBezTo>
                  <a:lnTo>
                    <a:pt x="116537" y="0"/>
                  </a:lnTo>
                  <a:cubicBezTo>
                    <a:pt x="122605" y="0"/>
                    <a:pt x="128166" y="1517"/>
                    <a:pt x="133095" y="4424"/>
                  </a:cubicBezTo>
                  <a:cubicBezTo>
                    <a:pt x="138151" y="7457"/>
                    <a:pt x="142070" y="11376"/>
                    <a:pt x="144977" y="16432"/>
                  </a:cubicBezTo>
                  <a:cubicBezTo>
                    <a:pt x="147884" y="21487"/>
                    <a:pt x="149401" y="27049"/>
                    <a:pt x="149401" y="32863"/>
                  </a:cubicBezTo>
                  <a:lnTo>
                    <a:pt x="149401" y="87087"/>
                  </a:lnTo>
                  <a:lnTo>
                    <a:pt x="27175" y="87087"/>
                  </a:lnTo>
                  <a:lnTo>
                    <a:pt x="27175" y="113251"/>
                  </a:lnTo>
                  <a:cubicBezTo>
                    <a:pt x="27175" y="114894"/>
                    <a:pt x="27807" y="116411"/>
                    <a:pt x="29071" y="117675"/>
                  </a:cubicBezTo>
                  <a:cubicBezTo>
                    <a:pt x="30335" y="118939"/>
                    <a:pt x="31852" y="119571"/>
                    <a:pt x="33495" y="119571"/>
                  </a:cubicBezTo>
                  <a:lnTo>
                    <a:pt x="149401" y="119571"/>
                  </a:lnTo>
                  <a:lnTo>
                    <a:pt x="149401" y="146999"/>
                  </a:lnTo>
                  <a:lnTo>
                    <a:pt x="32737" y="146999"/>
                  </a:lnTo>
                  <a:cubicBezTo>
                    <a:pt x="26670" y="146999"/>
                    <a:pt x="21108" y="145482"/>
                    <a:pt x="16305" y="142449"/>
                  </a:cubicBezTo>
                  <a:moveTo>
                    <a:pt x="27175" y="61555"/>
                  </a:moveTo>
                  <a:lnTo>
                    <a:pt x="121720" y="61555"/>
                  </a:lnTo>
                  <a:lnTo>
                    <a:pt x="121720" y="33621"/>
                  </a:lnTo>
                  <a:cubicBezTo>
                    <a:pt x="121720" y="31978"/>
                    <a:pt x="121088" y="30462"/>
                    <a:pt x="119950" y="29198"/>
                  </a:cubicBezTo>
                  <a:cubicBezTo>
                    <a:pt x="118813" y="27934"/>
                    <a:pt x="117296" y="27302"/>
                    <a:pt x="115653" y="27302"/>
                  </a:cubicBezTo>
                  <a:lnTo>
                    <a:pt x="33495" y="27302"/>
                  </a:lnTo>
                  <a:cubicBezTo>
                    <a:pt x="31852" y="27302"/>
                    <a:pt x="30335" y="27934"/>
                    <a:pt x="29071" y="29198"/>
                  </a:cubicBezTo>
                  <a:cubicBezTo>
                    <a:pt x="27807" y="30462"/>
                    <a:pt x="27175" y="31978"/>
                    <a:pt x="27175" y="33621"/>
                  </a:cubicBezTo>
                  <a:lnTo>
                    <a:pt x="27175" y="61555"/>
                  </a:lnTo>
                  <a:close/>
                </a:path>
              </a:pathLst>
            </a:custGeom>
            <a:solidFill>
              <a:srgbClr val="FFFFFF"/>
            </a:solidFill>
            <a:ln w="12519" cap="flat">
              <a:noFill/>
              <a:prstDash val="solid"/>
              <a:miter/>
            </a:ln>
          </p:spPr>
          <p:txBody>
            <a:bodyPr rtlCol="0" anchor="ctr"/>
            <a:lstStyle/>
            <a:p>
              <a:endParaRPr lang="de-DE" b="1"/>
            </a:p>
          </p:txBody>
        </p:sp>
        <p:sp>
          <p:nvSpPr>
            <p:cNvPr id="24" name="Freihandform: Form 23">
              <a:extLst>
                <a:ext uri="{FF2B5EF4-FFF2-40B4-BE49-F238E27FC236}">
                  <a16:creationId xmlns:a16="http://schemas.microsoft.com/office/drawing/2014/main" id="{6C83445D-6650-5B2D-E27C-7E32856E1FF2}"/>
                </a:ext>
              </a:extLst>
            </p:cNvPr>
            <p:cNvSpPr/>
            <p:nvPr/>
          </p:nvSpPr>
          <p:spPr>
            <a:xfrm>
              <a:off x="11760518" y="306208"/>
              <a:ext cx="117295" cy="116411"/>
            </a:xfrm>
            <a:custGeom>
              <a:avLst/>
              <a:gdLst>
                <a:gd name="connsiteX0" fmla="*/ 0 w 117295"/>
                <a:gd name="connsiteY0" fmla="*/ 0 h 116411"/>
                <a:gd name="connsiteX1" fmla="*/ 117296 w 117295"/>
                <a:gd name="connsiteY1" fmla="*/ 0 h 116411"/>
                <a:gd name="connsiteX2" fmla="*/ 117296 w 117295"/>
                <a:gd name="connsiteY2" fmla="*/ 116411 h 116411"/>
                <a:gd name="connsiteX3" fmla="*/ 0 w 117295"/>
                <a:gd name="connsiteY3" fmla="*/ 116411 h 116411"/>
              </a:gdLst>
              <a:ahLst/>
              <a:cxnLst>
                <a:cxn ang="0">
                  <a:pos x="connsiteX0" y="connsiteY0"/>
                </a:cxn>
                <a:cxn ang="0">
                  <a:pos x="connsiteX1" y="connsiteY1"/>
                </a:cxn>
                <a:cxn ang="0">
                  <a:pos x="connsiteX2" y="connsiteY2"/>
                </a:cxn>
                <a:cxn ang="0">
                  <a:pos x="connsiteX3" y="connsiteY3"/>
                </a:cxn>
              </a:cxnLst>
              <a:rect l="l" t="t" r="r" b="b"/>
              <a:pathLst>
                <a:path w="117295" h="116411">
                  <a:moveTo>
                    <a:pt x="0" y="0"/>
                  </a:moveTo>
                  <a:lnTo>
                    <a:pt x="117296" y="0"/>
                  </a:lnTo>
                  <a:lnTo>
                    <a:pt x="117296" y="116411"/>
                  </a:lnTo>
                  <a:lnTo>
                    <a:pt x="0" y="116411"/>
                  </a:lnTo>
                  <a:close/>
                </a:path>
              </a:pathLst>
            </a:custGeom>
            <a:solidFill>
              <a:srgbClr val="000000"/>
            </a:solidFill>
            <a:ln w="12519" cap="flat">
              <a:noFill/>
              <a:prstDash val="solid"/>
              <a:miter/>
            </a:ln>
          </p:spPr>
          <p:txBody>
            <a:bodyPr rtlCol="0" anchor="ctr"/>
            <a:lstStyle/>
            <a:p>
              <a:endParaRPr lang="de-DE" b="1"/>
            </a:p>
          </p:txBody>
        </p:sp>
        <p:sp>
          <p:nvSpPr>
            <p:cNvPr id="25" name="Freihandform: Form 24">
              <a:extLst>
                <a:ext uri="{FF2B5EF4-FFF2-40B4-BE49-F238E27FC236}">
                  <a16:creationId xmlns:a16="http://schemas.microsoft.com/office/drawing/2014/main" id="{18E48144-736C-8095-4194-27BD5BF0F298}"/>
                </a:ext>
              </a:extLst>
            </p:cNvPr>
            <p:cNvSpPr/>
            <p:nvPr/>
          </p:nvSpPr>
          <p:spPr>
            <a:xfrm>
              <a:off x="11760518" y="188913"/>
              <a:ext cx="117295" cy="117295"/>
            </a:xfrm>
            <a:custGeom>
              <a:avLst/>
              <a:gdLst>
                <a:gd name="connsiteX0" fmla="*/ 0 w 117295"/>
                <a:gd name="connsiteY0" fmla="*/ 0 h 117295"/>
                <a:gd name="connsiteX1" fmla="*/ 117296 w 117295"/>
                <a:gd name="connsiteY1" fmla="*/ 0 h 117295"/>
                <a:gd name="connsiteX2" fmla="*/ 117296 w 117295"/>
                <a:gd name="connsiteY2" fmla="*/ 117296 h 117295"/>
                <a:gd name="connsiteX3" fmla="*/ 0 w 117295"/>
                <a:gd name="connsiteY3" fmla="*/ 117296 h 117295"/>
              </a:gdLst>
              <a:ahLst/>
              <a:cxnLst>
                <a:cxn ang="0">
                  <a:pos x="connsiteX0" y="connsiteY0"/>
                </a:cxn>
                <a:cxn ang="0">
                  <a:pos x="connsiteX1" y="connsiteY1"/>
                </a:cxn>
                <a:cxn ang="0">
                  <a:pos x="connsiteX2" y="connsiteY2"/>
                </a:cxn>
                <a:cxn ang="0">
                  <a:pos x="connsiteX3" y="connsiteY3"/>
                </a:cxn>
              </a:cxnLst>
              <a:rect l="l" t="t" r="r" b="b"/>
              <a:pathLst>
                <a:path w="117295" h="117295">
                  <a:moveTo>
                    <a:pt x="0" y="0"/>
                  </a:moveTo>
                  <a:lnTo>
                    <a:pt x="117296" y="0"/>
                  </a:lnTo>
                  <a:lnTo>
                    <a:pt x="117296" y="117296"/>
                  </a:lnTo>
                  <a:lnTo>
                    <a:pt x="0" y="117296"/>
                  </a:lnTo>
                  <a:close/>
                </a:path>
              </a:pathLst>
            </a:custGeom>
            <a:solidFill>
              <a:srgbClr val="FFFFFF"/>
            </a:solidFill>
            <a:ln w="12519" cap="flat">
              <a:noFill/>
              <a:prstDash val="solid"/>
              <a:miter/>
            </a:ln>
          </p:spPr>
          <p:txBody>
            <a:bodyPr rtlCol="0" anchor="ctr"/>
            <a:lstStyle/>
            <a:p>
              <a:endParaRPr lang="de-DE" b="1"/>
            </a:p>
          </p:txBody>
        </p:sp>
      </p:grpSp>
    </p:spTree>
    <p:extLst>
      <p:ext uri="{BB962C8B-B14F-4D97-AF65-F5344CB8AC3E}">
        <p14:creationId xmlns:p14="http://schemas.microsoft.com/office/powerpoint/2010/main" val="1913902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andardfolie_hell_1-Spalt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15054044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p>
            <a:r>
              <a:rPr lang="de-DE" noProof="0"/>
              <a:t>Klicke hier um einen Action Title einzufügen.</a:t>
            </a:r>
          </a:p>
        </p:txBody>
      </p:sp>
      <p:cxnSp>
        <p:nvCxnSpPr>
          <p:cNvPr id="11" name="Gerader Verbinder 15">
            <a:extLst>
              <a:ext uri="{FF2B5EF4-FFF2-40B4-BE49-F238E27FC236}">
                <a16:creationId xmlns:a16="http://schemas.microsoft.com/office/drawing/2014/main" id="{E68C9AC1-EA60-B9BC-A365-B318C997DDFC}"/>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9CE69AEF-AB50-D8DE-A0CB-C550A0A9E018}"/>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8E18B6C2-6FE9-14EE-CA7A-426690F55A0E}"/>
              </a:ext>
            </a:extLst>
          </p:cNvPr>
          <p:cNvSpPr>
            <a:spLocks noGrp="1"/>
          </p:cNvSpPr>
          <p:nvPr>
            <p:ph type="sldNum" sz="quarter" idx="14"/>
          </p:nvPr>
        </p:nvSpPr>
        <p:spPr/>
        <p:txBody>
          <a:bodyPr/>
          <a:lstStyle/>
          <a:p>
            <a:fld id="{0016BBAD-09BD-6243-A9CA-D1F4B193196B}" type="slidenum">
              <a:rPr lang="en-GB" smtClean="0"/>
              <a:pPr/>
              <a:t>‹Nr.›</a:t>
            </a:fld>
            <a:endParaRPr lang="en-GB"/>
          </a:p>
        </p:txBody>
      </p:sp>
      <p:sp>
        <p:nvSpPr>
          <p:cNvPr id="10" name="Text Placeholder 7">
            <a:extLst>
              <a:ext uri="{FF2B5EF4-FFF2-40B4-BE49-F238E27FC236}">
                <a16:creationId xmlns:a16="http://schemas.microsoft.com/office/drawing/2014/main" id="{E0A1565E-A193-D574-0F3D-13EAE1204CC2}"/>
              </a:ext>
            </a:extLst>
          </p:cNvPr>
          <p:cNvSpPr>
            <a:spLocks noGrp="1"/>
          </p:cNvSpPr>
          <p:nvPr>
            <p:ph type="body" sz="quarter" idx="15"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de-DE" noProof="0"/>
              <a:t>Kapitel ➝ Thema</a:t>
            </a:r>
          </a:p>
        </p:txBody>
      </p:sp>
      <p:sp>
        <p:nvSpPr>
          <p:cNvPr id="3" name="Text Placeholder 3">
            <a:extLst>
              <a:ext uri="{FF2B5EF4-FFF2-40B4-BE49-F238E27FC236}">
                <a16:creationId xmlns:a16="http://schemas.microsoft.com/office/drawing/2014/main" id="{8FD8294F-F064-1539-341B-80809CCC84E0}"/>
              </a:ext>
            </a:extLst>
          </p:cNvPr>
          <p:cNvSpPr>
            <a:spLocks noGrp="1"/>
          </p:cNvSpPr>
          <p:nvPr>
            <p:ph type="body" sz="quarter" idx="20" hasCustomPrompt="1"/>
          </p:nvPr>
        </p:nvSpPr>
        <p:spPr>
          <a:xfrm>
            <a:off x="536574" y="1844675"/>
            <a:ext cx="11118849" cy="4356100"/>
          </a:xfrm>
        </p:spPr>
        <p:txBody>
          <a:bodyPr lIns="0" tIns="0" rIns="0" bIns="0" anchor="t">
            <a:noAutofit/>
          </a:bodyPr>
          <a:lstStyle>
            <a:lvl1pPr>
              <a:defRPr sz="1200"/>
            </a:lvl1pPr>
          </a:lstStyle>
          <a:p>
            <a:pPr lvl="0"/>
            <a:r>
              <a:rPr lang="de-DE" noProof="0"/>
              <a:t>Klicke um Text einzufügen – 12pt; Textblöcke mit maximal 3 Zeilen</a:t>
            </a:r>
          </a:p>
        </p:txBody>
      </p:sp>
    </p:spTree>
    <p:extLst>
      <p:ext uri="{BB962C8B-B14F-4D97-AF65-F5344CB8AC3E}">
        <p14:creationId xmlns:p14="http://schemas.microsoft.com/office/powerpoint/2010/main" val="65413647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folie_hell_4-Spalte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207458-90BF-ACE8-7998-32CE55FE0D96}"/>
              </a:ext>
            </a:extLst>
          </p:cNvPr>
          <p:cNvGraphicFramePr>
            <a:graphicFrameLocks noChangeAspect="1"/>
          </p:cNvGraphicFramePr>
          <p:nvPr userDrawn="1">
            <p:custDataLst>
              <p:tags r:id="rId1"/>
            </p:custDataLst>
            <p:extLst>
              <p:ext uri="{D42A27DB-BD31-4B8C-83A1-F6EECF244321}">
                <p14:modId xmlns:p14="http://schemas.microsoft.com/office/powerpoint/2010/main" val="42210782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207458-90BF-ACE8-7998-32CE55FE0D9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0419BDB-0AAD-52FA-4D51-7E0CFFD153E3}"/>
              </a:ext>
            </a:extLst>
          </p:cNvPr>
          <p:cNvSpPr>
            <a:spLocks noGrp="1"/>
          </p:cNvSpPr>
          <p:nvPr>
            <p:ph type="title" hasCustomPrompt="1"/>
          </p:nvPr>
        </p:nvSpPr>
        <p:spPr>
          <a:xfrm>
            <a:off x="536575" y="441325"/>
            <a:ext cx="11118850" cy="755650"/>
          </a:xfrm>
        </p:spPr>
        <p:txBody>
          <a:bodyPr vert="horz"/>
          <a:lstStyle/>
          <a:p>
            <a:r>
              <a:rPr lang="de-DE" noProof="0"/>
              <a:t>Klicke hier um einen Action Title einzufügen.</a:t>
            </a:r>
          </a:p>
        </p:txBody>
      </p:sp>
      <p:cxnSp>
        <p:nvCxnSpPr>
          <p:cNvPr id="11" name="Gerader Verbinder 15">
            <a:extLst>
              <a:ext uri="{FF2B5EF4-FFF2-40B4-BE49-F238E27FC236}">
                <a16:creationId xmlns:a16="http://schemas.microsoft.com/office/drawing/2014/main" id="{E68C9AC1-EA60-B9BC-A365-B318C997DDFC}"/>
              </a:ext>
            </a:extLst>
          </p:cNvPr>
          <p:cNvCxnSpPr>
            <a:cxnSpLocks/>
          </p:cNvCxnSpPr>
          <p:nvPr userDrawn="1"/>
        </p:nvCxnSpPr>
        <p:spPr>
          <a:xfrm>
            <a:off x="536575" y="1278685"/>
            <a:ext cx="663575"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9CE69AEF-AB50-D8DE-A0CB-C550A0A9E018}"/>
              </a:ext>
            </a:extLst>
          </p:cNvPr>
          <p:cNvSpPr>
            <a:spLocks noGrp="1"/>
          </p:cNvSpPr>
          <p:nvPr>
            <p:ph type="ftr" sz="quarter" idx="13"/>
          </p:nvPr>
        </p:nvSpPr>
        <p:spPr/>
        <p:txBody>
          <a:bodyPr/>
          <a:lstStyle/>
          <a:p>
            <a:r>
              <a:rPr lang="en-GB"/>
              <a:t>byte – Bayerische Agentur für Digitales</a:t>
            </a:r>
          </a:p>
        </p:txBody>
      </p:sp>
      <p:sp>
        <p:nvSpPr>
          <p:cNvPr id="7" name="Slide Number Placeholder 6">
            <a:extLst>
              <a:ext uri="{FF2B5EF4-FFF2-40B4-BE49-F238E27FC236}">
                <a16:creationId xmlns:a16="http://schemas.microsoft.com/office/drawing/2014/main" id="{8E18B6C2-6FE9-14EE-CA7A-426690F55A0E}"/>
              </a:ext>
            </a:extLst>
          </p:cNvPr>
          <p:cNvSpPr>
            <a:spLocks noGrp="1"/>
          </p:cNvSpPr>
          <p:nvPr>
            <p:ph type="sldNum" sz="quarter" idx="14"/>
          </p:nvPr>
        </p:nvSpPr>
        <p:spPr/>
        <p:txBody>
          <a:bodyPr/>
          <a:lstStyle/>
          <a:p>
            <a:fld id="{0016BBAD-09BD-6243-A9CA-D1F4B193196B}" type="slidenum">
              <a:rPr lang="en-GB" smtClean="0"/>
              <a:pPr/>
              <a:t>‹Nr.›</a:t>
            </a:fld>
            <a:endParaRPr lang="en-GB"/>
          </a:p>
        </p:txBody>
      </p:sp>
      <p:sp>
        <p:nvSpPr>
          <p:cNvPr id="10" name="Text Placeholder 7">
            <a:extLst>
              <a:ext uri="{FF2B5EF4-FFF2-40B4-BE49-F238E27FC236}">
                <a16:creationId xmlns:a16="http://schemas.microsoft.com/office/drawing/2014/main" id="{E0A1565E-A193-D574-0F3D-13EAE1204CC2}"/>
              </a:ext>
            </a:extLst>
          </p:cNvPr>
          <p:cNvSpPr>
            <a:spLocks noGrp="1"/>
          </p:cNvSpPr>
          <p:nvPr>
            <p:ph type="body" sz="quarter" idx="15" hasCustomPrompt="1"/>
          </p:nvPr>
        </p:nvSpPr>
        <p:spPr>
          <a:xfrm>
            <a:off x="7191375" y="159786"/>
            <a:ext cx="4464050" cy="173589"/>
          </a:xfrm>
        </p:spPr>
        <p:txBody>
          <a:bodyPr anchor="ctr">
            <a:noAutofit/>
          </a:bodyPr>
          <a:lstStyle>
            <a:lvl1pPr algn="r">
              <a:defRPr sz="900">
                <a:solidFill>
                  <a:schemeClr val="accent2"/>
                </a:solidFill>
              </a:defRPr>
            </a:lvl1pPr>
          </a:lstStyle>
          <a:p>
            <a:pPr lvl="0"/>
            <a:r>
              <a:rPr lang="de-DE" noProof="0"/>
              <a:t>Kapitel ➝ Thema</a:t>
            </a:r>
          </a:p>
        </p:txBody>
      </p:sp>
      <p:sp>
        <p:nvSpPr>
          <p:cNvPr id="4" name="Text Placeholder 3">
            <a:extLst>
              <a:ext uri="{FF2B5EF4-FFF2-40B4-BE49-F238E27FC236}">
                <a16:creationId xmlns:a16="http://schemas.microsoft.com/office/drawing/2014/main" id="{5D94B42E-13CC-DD62-9D7A-C7E48914AE42}"/>
              </a:ext>
            </a:extLst>
          </p:cNvPr>
          <p:cNvSpPr>
            <a:spLocks noGrp="1"/>
          </p:cNvSpPr>
          <p:nvPr>
            <p:ph type="body" sz="quarter" idx="16" hasCustomPrompt="1"/>
          </p:nvPr>
        </p:nvSpPr>
        <p:spPr>
          <a:xfrm>
            <a:off x="536575" y="2106707"/>
            <a:ext cx="2565400" cy="530131"/>
          </a:xfrm>
        </p:spPr>
        <p:txBody>
          <a:bodyPr lIns="0" tIns="0" rIns="0" bIns="0" anchor="b">
            <a:noAutofit/>
          </a:bodyPr>
          <a:lstStyle>
            <a:lvl1pPr>
              <a:defRPr b="1"/>
            </a:lvl1pPr>
          </a:lstStyle>
          <a:p>
            <a:pPr lvl="0"/>
            <a:r>
              <a:rPr lang="de-DE" noProof="0"/>
              <a:t>Klicke um Überschrift einzufügen – 16pt</a:t>
            </a:r>
          </a:p>
        </p:txBody>
      </p:sp>
      <p:sp>
        <p:nvSpPr>
          <p:cNvPr id="8" name="Text Placeholder 3">
            <a:extLst>
              <a:ext uri="{FF2B5EF4-FFF2-40B4-BE49-F238E27FC236}">
                <a16:creationId xmlns:a16="http://schemas.microsoft.com/office/drawing/2014/main" id="{B480F63E-D570-8FF9-8936-49375DEE1E25}"/>
              </a:ext>
            </a:extLst>
          </p:cNvPr>
          <p:cNvSpPr>
            <a:spLocks noGrp="1"/>
          </p:cNvSpPr>
          <p:nvPr>
            <p:ph type="body" sz="quarter" idx="17" hasCustomPrompt="1"/>
          </p:nvPr>
        </p:nvSpPr>
        <p:spPr>
          <a:xfrm>
            <a:off x="3387725" y="2106707"/>
            <a:ext cx="2565400" cy="530131"/>
          </a:xfrm>
        </p:spPr>
        <p:txBody>
          <a:bodyPr lIns="0" tIns="0" rIns="0" bIns="0" anchor="b">
            <a:noAutofit/>
          </a:bodyPr>
          <a:lstStyle>
            <a:lvl1pPr>
              <a:defRPr b="1"/>
            </a:lvl1pPr>
          </a:lstStyle>
          <a:p>
            <a:pPr lvl="0"/>
            <a:r>
              <a:rPr lang="de-DE" noProof="0"/>
              <a:t>Klicke um Überschrift einzufügen – 16pt</a:t>
            </a:r>
          </a:p>
        </p:txBody>
      </p:sp>
      <p:sp>
        <p:nvSpPr>
          <p:cNvPr id="9" name="Text Placeholder 3">
            <a:extLst>
              <a:ext uri="{FF2B5EF4-FFF2-40B4-BE49-F238E27FC236}">
                <a16:creationId xmlns:a16="http://schemas.microsoft.com/office/drawing/2014/main" id="{9CF27F81-0146-F349-C745-314B9AF16317}"/>
              </a:ext>
            </a:extLst>
          </p:cNvPr>
          <p:cNvSpPr>
            <a:spLocks noGrp="1"/>
          </p:cNvSpPr>
          <p:nvPr>
            <p:ph type="body" sz="quarter" idx="18" hasCustomPrompt="1"/>
          </p:nvPr>
        </p:nvSpPr>
        <p:spPr>
          <a:xfrm>
            <a:off x="6238875" y="2106707"/>
            <a:ext cx="2565400" cy="530131"/>
          </a:xfrm>
        </p:spPr>
        <p:txBody>
          <a:bodyPr lIns="0" tIns="0" rIns="0" bIns="0" anchor="b">
            <a:noAutofit/>
          </a:bodyPr>
          <a:lstStyle>
            <a:lvl1pPr>
              <a:defRPr b="1"/>
            </a:lvl1pPr>
          </a:lstStyle>
          <a:p>
            <a:pPr lvl="0"/>
            <a:r>
              <a:rPr lang="de-DE" noProof="0"/>
              <a:t>Klicke um Überschrift einzufügen – 16pt</a:t>
            </a:r>
          </a:p>
        </p:txBody>
      </p:sp>
      <p:sp>
        <p:nvSpPr>
          <p:cNvPr id="12" name="Text Placeholder 3">
            <a:extLst>
              <a:ext uri="{FF2B5EF4-FFF2-40B4-BE49-F238E27FC236}">
                <a16:creationId xmlns:a16="http://schemas.microsoft.com/office/drawing/2014/main" id="{5256D5F3-7FB7-2D39-AC19-3A3C2B772122}"/>
              </a:ext>
            </a:extLst>
          </p:cNvPr>
          <p:cNvSpPr>
            <a:spLocks noGrp="1"/>
          </p:cNvSpPr>
          <p:nvPr>
            <p:ph type="body" sz="quarter" idx="19" hasCustomPrompt="1"/>
          </p:nvPr>
        </p:nvSpPr>
        <p:spPr>
          <a:xfrm>
            <a:off x="9090025" y="2106707"/>
            <a:ext cx="2565400" cy="530131"/>
          </a:xfrm>
        </p:spPr>
        <p:txBody>
          <a:bodyPr lIns="0" tIns="0" rIns="0" bIns="0" anchor="b">
            <a:noAutofit/>
          </a:bodyPr>
          <a:lstStyle>
            <a:lvl1pPr>
              <a:defRPr b="1"/>
            </a:lvl1pPr>
          </a:lstStyle>
          <a:p>
            <a:pPr lvl="0"/>
            <a:r>
              <a:rPr lang="de-DE" noProof="0"/>
              <a:t>Klicke um Überschrift einzufügen – 16pt</a:t>
            </a:r>
          </a:p>
        </p:txBody>
      </p:sp>
      <p:sp>
        <p:nvSpPr>
          <p:cNvPr id="13" name="Text Placeholder 3">
            <a:extLst>
              <a:ext uri="{FF2B5EF4-FFF2-40B4-BE49-F238E27FC236}">
                <a16:creationId xmlns:a16="http://schemas.microsoft.com/office/drawing/2014/main" id="{0EEB4A16-87E2-BC3C-4D1B-81E48219A996}"/>
              </a:ext>
            </a:extLst>
          </p:cNvPr>
          <p:cNvSpPr>
            <a:spLocks noGrp="1"/>
          </p:cNvSpPr>
          <p:nvPr>
            <p:ph type="body" sz="quarter" idx="20" hasCustomPrompt="1"/>
          </p:nvPr>
        </p:nvSpPr>
        <p:spPr>
          <a:xfrm>
            <a:off x="536575" y="3038523"/>
            <a:ext cx="2565400" cy="3162252"/>
          </a:xfrm>
        </p:spPr>
        <p:txBody>
          <a:bodyPr lIns="0" tIns="0" rIns="0" bIns="0" anchor="t">
            <a:noAutofit/>
          </a:bodyPr>
          <a:lstStyle>
            <a:lvl1pPr>
              <a:defRPr sz="1200"/>
            </a:lvl1pPr>
          </a:lstStyle>
          <a:p>
            <a:pPr lvl="0"/>
            <a:r>
              <a:rPr lang="de-DE" noProof="0"/>
              <a:t>Klicke um Text einzufügen – 12pt; Textblöcke mit maximal 3 Zeilen</a:t>
            </a:r>
          </a:p>
        </p:txBody>
      </p:sp>
      <p:sp>
        <p:nvSpPr>
          <p:cNvPr id="14" name="Text Placeholder 3">
            <a:extLst>
              <a:ext uri="{FF2B5EF4-FFF2-40B4-BE49-F238E27FC236}">
                <a16:creationId xmlns:a16="http://schemas.microsoft.com/office/drawing/2014/main" id="{20D59DBB-37D4-7204-B6C9-C064C24374E0}"/>
              </a:ext>
            </a:extLst>
          </p:cNvPr>
          <p:cNvSpPr>
            <a:spLocks noGrp="1"/>
          </p:cNvSpPr>
          <p:nvPr>
            <p:ph type="body" sz="quarter" idx="21" hasCustomPrompt="1"/>
          </p:nvPr>
        </p:nvSpPr>
        <p:spPr>
          <a:xfrm>
            <a:off x="3387725" y="3038523"/>
            <a:ext cx="2565400" cy="3162252"/>
          </a:xfrm>
        </p:spPr>
        <p:txBody>
          <a:bodyPr lIns="0" tIns="0" rIns="0" bIns="0" anchor="t">
            <a:noAutofit/>
          </a:bodyPr>
          <a:lstStyle>
            <a:lvl1pPr>
              <a:defRPr sz="1200"/>
            </a:lvl1pPr>
          </a:lstStyle>
          <a:p>
            <a:pPr lvl="0"/>
            <a:r>
              <a:rPr lang="de-DE" noProof="0"/>
              <a:t>Klicke um Text einzufügen 12pt; Textblöcke mit maximal 3 Zeilen</a:t>
            </a:r>
          </a:p>
        </p:txBody>
      </p:sp>
      <p:sp>
        <p:nvSpPr>
          <p:cNvPr id="15" name="Text Placeholder 3">
            <a:extLst>
              <a:ext uri="{FF2B5EF4-FFF2-40B4-BE49-F238E27FC236}">
                <a16:creationId xmlns:a16="http://schemas.microsoft.com/office/drawing/2014/main" id="{881F54F9-AFAB-7021-ADF7-91476DF5032D}"/>
              </a:ext>
            </a:extLst>
          </p:cNvPr>
          <p:cNvSpPr>
            <a:spLocks noGrp="1"/>
          </p:cNvSpPr>
          <p:nvPr>
            <p:ph type="body" sz="quarter" idx="22" hasCustomPrompt="1"/>
          </p:nvPr>
        </p:nvSpPr>
        <p:spPr>
          <a:xfrm>
            <a:off x="6238875" y="3038523"/>
            <a:ext cx="2565400" cy="3162252"/>
          </a:xfrm>
        </p:spPr>
        <p:txBody>
          <a:bodyPr lIns="0" tIns="0" rIns="0" bIns="0" anchor="t">
            <a:noAutofit/>
          </a:bodyPr>
          <a:lstStyle>
            <a:lvl1pPr>
              <a:defRPr sz="1200"/>
            </a:lvl1pPr>
          </a:lstStyle>
          <a:p>
            <a:pPr lvl="0"/>
            <a:r>
              <a:rPr lang="de-DE" noProof="0"/>
              <a:t>Klicke um Text einzufügen - 12pt; Textblöcke mit maximal 3 Zeilen</a:t>
            </a:r>
          </a:p>
        </p:txBody>
      </p:sp>
      <p:sp>
        <p:nvSpPr>
          <p:cNvPr id="16" name="Text Placeholder 3">
            <a:extLst>
              <a:ext uri="{FF2B5EF4-FFF2-40B4-BE49-F238E27FC236}">
                <a16:creationId xmlns:a16="http://schemas.microsoft.com/office/drawing/2014/main" id="{22F0AFD0-F1D0-6526-54B4-B31CBDF6322F}"/>
              </a:ext>
            </a:extLst>
          </p:cNvPr>
          <p:cNvSpPr>
            <a:spLocks noGrp="1"/>
          </p:cNvSpPr>
          <p:nvPr>
            <p:ph type="body" sz="quarter" idx="23" hasCustomPrompt="1"/>
          </p:nvPr>
        </p:nvSpPr>
        <p:spPr>
          <a:xfrm>
            <a:off x="9090025" y="3038523"/>
            <a:ext cx="2565400" cy="3162252"/>
          </a:xfrm>
        </p:spPr>
        <p:txBody>
          <a:bodyPr lIns="0" tIns="0" rIns="0" bIns="0" anchor="t">
            <a:noAutofit/>
          </a:bodyPr>
          <a:lstStyle>
            <a:lvl1pPr>
              <a:defRPr sz="1200"/>
            </a:lvl1pPr>
          </a:lstStyle>
          <a:p>
            <a:pPr lvl="0"/>
            <a:r>
              <a:rPr lang="de-DE" noProof="0"/>
              <a:t>Klicke um Text einzufügen – 12pt; Textblöcke mit maximal 3 Zeilen</a:t>
            </a:r>
          </a:p>
        </p:txBody>
      </p:sp>
    </p:spTree>
    <p:extLst>
      <p:ext uri="{BB962C8B-B14F-4D97-AF65-F5344CB8AC3E}">
        <p14:creationId xmlns:p14="http://schemas.microsoft.com/office/powerpoint/2010/main" val="403101148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theme" Target="../theme/theme2.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082604-04CB-99AE-2D77-82B482EF360B}"/>
              </a:ext>
            </a:extLst>
          </p:cNvPr>
          <p:cNvGraphicFramePr>
            <a:graphicFrameLocks noChangeAspect="1"/>
          </p:cNvGraphicFramePr>
          <p:nvPr userDrawn="1">
            <p:custDataLst>
              <p:tags r:id="rId47"/>
            </p:custDataLst>
            <p:extLst>
              <p:ext uri="{D42A27DB-BD31-4B8C-83A1-F6EECF244321}">
                <p14:modId xmlns:p14="http://schemas.microsoft.com/office/powerpoint/2010/main" val="10440713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3" name="Object 2" hidden="1">
                        <a:extLst>
                          <a:ext uri="{FF2B5EF4-FFF2-40B4-BE49-F238E27FC236}">
                            <a16:creationId xmlns:a16="http://schemas.microsoft.com/office/drawing/2014/main" id="{18082604-04CB-99AE-2D77-82B482EF360B}"/>
                          </a:ext>
                        </a:extLst>
                      </p:cNvPr>
                      <p:cNvPicPr/>
                      <p:nvPr/>
                    </p:nvPicPr>
                    <p:blipFill>
                      <a:blip r:embed="rId49"/>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56B5322-E9E0-54E0-6CB8-01C7FF75D005}"/>
              </a:ext>
            </a:extLst>
          </p:cNvPr>
          <p:cNvSpPr>
            <a:spLocks noGrp="1"/>
          </p:cNvSpPr>
          <p:nvPr>
            <p:ph type="title"/>
          </p:nvPr>
        </p:nvSpPr>
        <p:spPr>
          <a:xfrm>
            <a:off x="536574" y="446406"/>
            <a:ext cx="11118851" cy="755650"/>
          </a:xfrm>
          <a:prstGeom prst="rect">
            <a:avLst/>
          </a:prstGeom>
        </p:spPr>
        <p:txBody>
          <a:bodyPr vert="horz" lIns="0" tIns="0" rIns="0" bIns="0" rtlCol="0" anchor="b">
            <a:noAutofit/>
          </a:bodyPr>
          <a:lstStyle/>
          <a:p>
            <a:r>
              <a:rPr lang="en-GB" err="1"/>
              <a:t>Wir</a:t>
            </a:r>
            <a:r>
              <a:rPr lang="en-GB"/>
              <a:t> </a:t>
            </a:r>
            <a:r>
              <a:rPr lang="en-GB" err="1"/>
              <a:t>wollen</a:t>
            </a:r>
            <a:r>
              <a:rPr lang="en-GB"/>
              <a:t> </a:t>
            </a:r>
            <a:r>
              <a:rPr lang="en-GB" err="1"/>
              <a:t>gemeinsam</a:t>
            </a:r>
            <a:r>
              <a:rPr lang="en-GB"/>
              <a:t> am </a:t>
            </a:r>
            <a:r>
              <a:rPr lang="en-GB" err="1"/>
              <a:t>heutigen</a:t>
            </a:r>
            <a:r>
              <a:rPr lang="en-GB"/>
              <a:t> Tag </a:t>
            </a:r>
            <a:r>
              <a:rPr lang="en-GB" err="1"/>
              <a:t>ein</a:t>
            </a:r>
            <a:r>
              <a:rPr lang="en-GB"/>
              <a:t> </a:t>
            </a:r>
            <a:r>
              <a:rPr lang="en-GB" err="1"/>
              <a:t>Zielbild</a:t>
            </a:r>
            <a:r>
              <a:rPr lang="en-GB"/>
              <a:t> </a:t>
            </a:r>
            <a:r>
              <a:rPr lang="en-GB" err="1"/>
              <a:t>entwickeln</a:t>
            </a:r>
            <a:r>
              <a:rPr lang="en-GB"/>
              <a:t>, </a:t>
            </a:r>
            <a:r>
              <a:rPr lang="en-GB" err="1"/>
              <a:t>dass</a:t>
            </a:r>
            <a:r>
              <a:rPr lang="en-GB"/>
              <a:t> den </a:t>
            </a:r>
            <a:r>
              <a:rPr lang="en-GB" err="1"/>
              <a:t>Vorraussetzungen</a:t>
            </a:r>
            <a:r>
              <a:rPr lang="en-GB"/>
              <a:t> des </a:t>
            </a:r>
            <a:r>
              <a:rPr lang="en-GB" err="1"/>
              <a:t>Freistaates</a:t>
            </a:r>
            <a:r>
              <a:rPr lang="en-GB"/>
              <a:t> Bayern </a:t>
            </a:r>
            <a:r>
              <a:rPr lang="en-GB" err="1"/>
              <a:t>entspricht</a:t>
            </a:r>
            <a:endParaRPr lang="de-DE"/>
          </a:p>
        </p:txBody>
      </p:sp>
      <p:sp>
        <p:nvSpPr>
          <p:cNvPr id="15" name="Text Placeholder 14">
            <a:extLst>
              <a:ext uri="{FF2B5EF4-FFF2-40B4-BE49-F238E27FC236}">
                <a16:creationId xmlns:a16="http://schemas.microsoft.com/office/drawing/2014/main" id="{27387373-6059-325E-D4A0-D11C86007263}"/>
              </a:ext>
            </a:extLst>
          </p:cNvPr>
          <p:cNvSpPr>
            <a:spLocks noGrp="1"/>
          </p:cNvSpPr>
          <p:nvPr>
            <p:ph type="body" idx="1"/>
          </p:nvPr>
        </p:nvSpPr>
        <p:spPr>
          <a:xfrm>
            <a:off x="536574" y="1447800"/>
            <a:ext cx="11118851" cy="4752975"/>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1" name="Slide Number Placeholder 30">
            <a:extLst>
              <a:ext uri="{FF2B5EF4-FFF2-40B4-BE49-F238E27FC236}">
                <a16:creationId xmlns:a16="http://schemas.microsoft.com/office/drawing/2014/main" id="{CFFF29E6-8F06-9220-4101-0ABC46B2C5E8}"/>
              </a:ext>
            </a:extLst>
          </p:cNvPr>
          <p:cNvSpPr>
            <a:spLocks noGrp="1"/>
          </p:cNvSpPr>
          <p:nvPr>
            <p:ph type="sldNum" sz="quarter" idx="4"/>
          </p:nvPr>
        </p:nvSpPr>
        <p:spPr>
          <a:xfrm>
            <a:off x="11364688" y="6273802"/>
            <a:ext cx="681880" cy="395287"/>
          </a:xfrm>
          <a:prstGeom prst="rect">
            <a:avLst/>
          </a:prstGeom>
        </p:spPr>
        <p:txBody>
          <a:bodyPr vert="horz" lIns="91440" tIns="45720" rIns="91440" bIns="45720" rtlCol="0" anchor="b"/>
          <a:lstStyle>
            <a:lvl1pPr algn="r">
              <a:defRPr sz="800">
                <a:solidFill>
                  <a:schemeClr val="tx1"/>
                </a:solidFill>
                <a:latin typeface="+mn-lt"/>
              </a:defRPr>
            </a:lvl1pPr>
          </a:lstStyle>
          <a:p>
            <a:fld id="{0016BBAD-09BD-6243-A9CA-D1F4B193196B}" type="slidenum">
              <a:rPr lang="en-GB" smtClean="0"/>
              <a:pPr/>
              <a:t>‹Nr.›</a:t>
            </a:fld>
            <a:endParaRPr lang="en-GB"/>
          </a:p>
        </p:txBody>
      </p:sp>
      <p:sp>
        <p:nvSpPr>
          <p:cNvPr id="33" name="Footer Placeholder 32">
            <a:extLst>
              <a:ext uri="{FF2B5EF4-FFF2-40B4-BE49-F238E27FC236}">
                <a16:creationId xmlns:a16="http://schemas.microsoft.com/office/drawing/2014/main" id="{636D612A-7CA5-238A-D347-D8F725BC3F88}"/>
              </a:ext>
            </a:extLst>
          </p:cNvPr>
          <p:cNvSpPr>
            <a:spLocks noGrp="1"/>
          </p:cNvSpPr>
          <p:nvPr>
            <p:ph type="ftr" sz="quarter" idx="3"/>
          </p:nvPr>
        </p:nvSpPr>
        <p:spPr>
          <a:xfrm>
            <a:off x="9076291" y="6273802"/>
            <a:ext cx="2121515" cy="395287"/>
          </a:xfrm>
          <a:prstGeom prst="rect">
            <a:avLst/>
          </a:prstGeom>
        </p:spPr>
        <p:txBody>
          <a:bodyPr vert="horz" lIns="91440" tIns="45720" rIns="91440" bIns="45720" rtlCol="0" anchor="b"/>
          <a:lstStyle>
            <a:lvl1pPr algn="r">
              <a:defRPr sz="800">
                <a:solidFill>
                  <a:schemeClr val="tx1"/>
                </a:solidFill>
              </a:defRPr>
            </a:lvl1pPr>
          </a:lstStyle>
          <a:p>
            <a:r>
              <a:rPr lang="en-GB"/>
              <a:t>byte – </a:t>
            </a:r>
            <a:r>
              <a:rPr lang="en-GB" err="1"/>
              <a:t>Bayerische</a:t>
            </a:r>
            <a:r>
              <a:rPr lang="en-GB"/>
              <a:t> Agentur für </a:t>
            </a:r>
            <a:r>
              <a:rPr lang="en-GB" err="1"/>
              <a:t>Digitales</a:t>
            </a:r>
            <a:endParaRPr lang="en-GB"/>
          </a:p>
        </p:txBody>
      </p:sp>
    </p:spTree>
    <p:extLst>
      <p:ext uri="{BB962C8B-B14F-4D97-AF65-F5344CB8AC3E}">
        <p14:creationId xmlns:p14="http://schemas.microsoft.com/office/powerpoint/2010/main" val="3689281850"/>
      </p:ext>
    </p:extLst>
  </p:cSld>
  <p:clrMap bg1="lt1" tx1="dk1" bg2="lt2" tx2="dk2" accent1="accent1" accent2="accent2" accent3="accent3" accent4="accent4" accent5="accent5" accent6="accent6" hlink="hlink" folHlink="folHlink"/>
  <p:sldLayoutIdLst>
    <p:sldLayoutId id="2147483699" r:id="rId1"/>
    <p:sldLayoutId id="2147483717" r:id="rId2"/>
    <p:sldLayoutId id="2147483714" r:id="rId3"/>
    <p:sldLayoutId id="2147483681" r:id="rId4"/>
    <p:sldLayoutId id="2147483687" r:id="rId5"/>
    <p:sldLayoutId id="2147483658" r:id="rId6"/>
    <p:sldLayoutId id="2147483716" r:id="rId7"/>
    <p:sldLayoutId id="2147483711" r:id="rId8"/>
    <p:sldLayoutId id="2147483708" r:id="rId9"/>
    <p:sldLayoutId id="2147483709" r:id="rId10"/>
    <p:sldLayoutId id="2147483710" r:id="rId11"/>
    <p:sldLayoutId id="2147483704" r:id="rId12"/>
    <p:sldLayoutId id="2147483706" r:id="rId13"/>
    <p:sldLayoutId id="2147483683" r:id="rId14"/>
    <p:sldLayoutId id="2147483722" r:id="rId15"/>
    <p:sldLayoutId id="2147483677" r:id="rId16"/>
    <p:sldLayoutId id="2147483690" r:id="rId17"/>
    <p:sldLayoutId id="2147483696" r:id="rId18"/>
    <p:sldLayoutId id="2147483724" r:id="rId19"/>
    <p:sldLayoutId id="2147483691" r:id="rId20"/>
    <p:sldLayoutId id="2147483697" r:id="rId21"/>
    <p:sldLayoutId id="2147483725" r:id="rId22"/>
    <p:sldLayoutId id="2147483674" r:id="rId23"/>
    <p:sldLayoutId id="2147483673" r:id="rId24"/>
    <p:sldLayoutId id="2147483692" r:id="rId25"/>
    <p:sldLayoutId id="2147483698" r:id="rId26"/>
    <p:sldLayoutId id="2147483693" r:id="rId27"/>
    <p:sldLayoutId id="2147483680" r:id="rId28"/>
    <p:sldLayoutId id="2147483705" r:id="rId29"/>
    <p:sldLayoutId id="2147483715" r:id="rId30"/>
    <p:sldLayoutId id="2147483723" r:id="rId31"/>
    <p:sldLayoutId id="2147483721" r:id="rId32"/>
    <p:sldLayoutId id="2147483700" r:id="rId33"/>
    <p:sldLayoutId id="2147483701" r:id="rId34"/>
    <p:sldLayoutId id="2147483678" r:id="rId35"/>
    <p:sldLayoutId id="2147483702" r:id="rId36"/>
    <p:sldLayoutId id="2147483703" r:id="rId37"/>
    <p:sldLayoutId id="2147483650" r:id="rId38"/>
    <p:sldLayoutId id="2147483688" r:id="rId39"/>
    <p:sldLayoutId id="2147483685" r:id="rId40"/>
    <p:sldLayoutId id="2147483686" r:id="rId41"/>
    <p:sldLayoutId id="2147483656" r:id="rId42"/>
    <p:sldLayoutId id="2147483657" r:id="rId43"/>
    <p:sldLayoutId id="2147483707" r:id="rId44"/>
    <p:sldLayoutId id="2147483726" r:id="rId45"/>
  </p:sldLayoutIdLst>
  <p:hf hdr="0" dt="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0" indent="0" algn="l" defTabSz="914400" rtl="0" eaLnBrk="1" latinLnBrk="0" hangingPunct="1">
        <a:lnSpc>
          <a:spcPct val="120000"/>
        </a:lnSpc>
        <a:spcBef>
          <a:spcPts val="0"/>
        </a:spcBef>
        <a:buFont typeface="Untitled Sans Light" panose="020B0303030202060203"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20000"/>
        </a:lnSpc>
        <a:spcBef>
          <a:spcPts val="0"/>
        </a:spcBef>
        <a:buClr>
          <a:schemeClr val="tx1"/>
        </a:buClr>
        <a:buFont typeface="Wingdings" pitchFamily="2" charset="2"/>
        <a:buChar char="§"/>
        <a:defRPr sz="1600" kern="1200">
          <a:solidFill>
            <a:schemeClr val="tx1"/>
          </a:solidFill>
          <a:latin typeface="+mn-lt"/>
          <a:ea typeface="+mn-ea"/>
          <a:cs typeface="+mn-cs"/>
        </a:defRPr>
      </a:lvl2pPr>
      <a:lvl3pPr marL="361950" indent="-177800" algn="l" defTabSz="914400" rtl="0" eaLnBrk="1" latinLnBrk="0" hangingPunct="1">
        <a:lnSpc>
          <a:spcPct val="120000"/>
        </a:lnSpc>
        <a:spcBef>
          <a:spcPts val="0"/>
        </a:spcBef>
        <a:buClr>
          <a:schemeClr val="tx1"/>
        </a:buClr>
        <a:buSzPct val="100000"/>
        <a:buFont typeface="System Font Regular"/>
        <a:buChar char="－"/>
        <a:defRPr sz="1600" kern="1200">
          <a:solidFill>
            <a:schemeClr val="tx1"/>
          </a:solidFill>
          <a:latin typeface="+mn-lt"/>
          <a:ea typeface="+mn-ea"/>
          <a:cs typeface="+mn-cs"/>
        </a:defRPr>
      </a:lvl3pPr>
      <a:lvl4pPr marL="542925" indent="-180975" algn="l" defTabSz="914400" rtl="0" eaLnBrk="1" latinLnBrk="0" hangingPunct="1">
        <a:lnSpc>
          <a:spcPct val="120000"/>
        </a:lnSpc>
        <a:spcBef>
          <a:spcPts val="0"/>
        </a:spcBef>
        <a:buClr>
          <a:schemeClr val="tx1"/>
        </a:buClr>
        <a:buSzPct val="100000"/>
        <a:buFont typeface="Wingdings" pitchFamily="2" charset="2"/>
        <a:buChar char="§"/>
        <a:defRPr sz="1600" kern="1200">
          <a:solidFill>
            <a:schemeClr val="tx1"/>
          </a:solidFill>
          <a:latin typeface="Untitled Sans Light" panose="020B0303030202060203" pitchFamily="34" charset="0"/>
          <a:ea typeface="+mn-ea"/>
          <a:cs typeface="+mn-cs"/>
        </a:defRPr>
      </a:lvl4pPr>
      <a:lvl5pPr marL="2057400" indent="-228600" algn="l" defTabSz="914400" rtl="0" eaLnBrk="1" latinLnBrk="0" hangingPunct="1">
        <a:lnSpc>
          <a:spcPct val="120000"/>
        </a:lnSpc>
        <a:spcBef>
          <a:spcPts val="0"/>
        </a:spcBef>
        <a:buFont typeface="Andale Mono" panose="020B0509000000000004" pitchFamily="49" charset="0"/>
        <a:buChar char="▫"/>
        <a:defRPr sz="1600" kern="1200">
          <a:solidFill>
            <a:schemeClr val="tx1"/>
          </a:solidFill>
          <a:latin typeface="Untitled Sans Light" panose="020B03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78" userDrawn="1">
          <p15:clr>
            <a:srgbClr val="5ACBF0"/>
          </p15:clr>
        </p15:guide>
        <p15:guide id="3" pos="7559" userDrawn="1">
          <p15:clr>
            <a:srgbClr val="F26B43"/>
          </p15:clr>
        </p15:guide>
        <p15:guide id="4" orient="horz" pos="4201" userDrawn="1">
          <p15:clr>
            <a:srgbClr val="FDE53C"/>
          </p15:clr>
        </p15:guide>
        <p15:guide id="5" pos="3840" userDrawn="1">
          <p15:clr>
            <a:srgbClr val="C35EA4"/>
          </p15:clr>
        </p15:guide>
        <p15:guide id="6" pos="3750" userDrawn="1">
          <p15:clr>
            <a:srgbClr val="F26B43"/>
          </p15:clr>
        </p15:guide>
        <p15:guide id="7" pos="3930" userDrawn="1">
          <p15:clr>
            <a:srgbClr val="F26B43"/>
          </p15:clr>
        </p15:guide>
        <p15:guide id="9" orient="horz" pos="912" userDrawn="1">
          <p15:clr>
            <a:srgbClr val="C35EA4"/>
          </p15:clr>
        </p15:guide>
        <p15:guide id="11" pos="936" userDrawn="1">
          <p15:clr>
            <a:srgbClr val="F26B43"/>
          </p15:clr>
        </p15:guide>
        <p15:guide id="12" pos="1354" userDrawn="1">
          <p15:clr>
            <a:srgbClr val="F26B43"/>
          </p15:clr>
        </p15:guide>
        <p15:guide id="13" pos="756" userDrawn="1">
          <p15:clr>
            <a:srgbClr val="F26B43"/>
          </p15:clr>
        </p15:guide>
        <p15:guide id="14" pos="6326" userDrawn="1">
          <p15:clr>
            <a:srgbClr val="F26B43"/>
          </p15:clr>
        </p15:guide>
        <p15:guide id="15" pos="6144" userDrawn="1">
          <p15:clr>
            <a:srgbClr val="F26B43"/>
          </p15:clr>
        </p15:guide>
        <p15:guide id="16" pos="5726" userDrawn="1">
          <p15:clr>
            <a:srgbClr val="F26B43"/>
          </p15:clr>
        </p15:guide>
        <p15:guide id="17" orient="horz" pos="754" userDrawn="1">
          <p15:clr>
            <a:srgbClr val="5ACBF0"/>
          </p15:clr>
        </p15:guide>
        <p15:guide id="18" pos="7342" userDrawn="1">
          <p15:clr>
            <a:srgbClr val="C35EA4"/>
          </p15:clr>
        </p15:guide>
        <p15:guide id="19" pos="338" userDrawn="1">
          <p15:clr>
            <a:srgbClr val="C35EA4"/>
          </p15:clr>
        </p15:guide>
        <p15:guide id="20" orient="horz" pos="3906" userDrawn="1">
          <p15:clr>
            <a:srgbClr val="C35EA4"/>
          </p15:clr>
        </p15:guide>
        <p15:guide id="21" pos="1536" userDrawn="1">
          <p15:clr>
            <a:srgbClr val="F26B43"/>
          </p15:clr>
        </p15:guide>
        <p15:guide id="22" pos="2552" userDrawn="1">
          <p15:clr>
            <a:srgbClr val="F26B43"/>
          </p15:clr>
        </p15:guide>
        <p15:guide id="24" orient="horz" pos="3952" userDrawn="1">
          <p15:clr>
            <a:srgbClr val="FDE53C"/>
          </p15:clr>
        </p15:guide>
        <p15:guide id="25" orient="horz" pos="210" userDrawn="1">
          <p15:clr>
            <a:srgbClr val="547EBF"/>
          </p15:clr>
        </p15:guide>
        <p15:guide id="26" orient="horz" pos="96" userDrawn="1">
          <p15:clr>
            <a:srgbClr val="547EBF"/>
          </p15:clr>
        </p15:guide>
        <p15:guide id="27" pos="1954" userDrawn="1">
          <p15:clr>
            <a:srgbClr val="F26B43"/>
          </p15:clr>
        </p15:guide>
        <p15:guide id="28" pos="2134" userDrawn="1">
          <p15:clr>
            <a:srgbClr val="F26B43"/>
          </p15:clr>
        </p15:guide>
        <p15:guide id="29" pos="2734" userDrawn="1">
          <p15:clr>
            <a:srgbClr val="F26B43"/>
          </p15:clr>
        </p15:guide>
        <p15:guide id="30" pos="3150" userDrawn="1">
          <p15:clr>
            <a:srgbClr val="F26B43"/>
          </p15:clr>
        </p15:guide>
        <p15:guide id="31" pos="3332" userDrawn="1">
          <p15:clr>
            <a:srgbClr val="F26B43"/>
          </p15:clr>
        </p15:guide>
        <p15:guide id="32" pos="4348" userDrawn="1">
          <p15:clr>
            <a:srgbClr val="F26B43"/>
          </p15:clr>
        </p15:guide>
        <p15:guide id="33" pos="4530" userDrawn="1">
          <p15:clr>
            <a:srgbClr val="F26B43"/>
          </p15:clr>
        </p15:guide>
        <p15:guide id="34" pos="4946" userDrawn="1">
          <p15:clr>
            <a:srgbClr val="F26B43"/>
          </p15:clr>
        </p15:guide>
        <p15:guide id="35" pos="5128" userDrawn="1">
          <p15:clr>
            <a:srgbClr val="F26B43"/>
          </p15:clr>
        </p15:guide>
        <p15:guide id="36" pos="5546" userDrawn="1">
          <p15:clr>
            <a:srgbClr val="F26B43"/>
          </p15:clr>
        </p15:guide>
        <p15:guide id="37" pos="6744" userDrawn="1">
          <p15:clr>
            <a:srgbClr val="F26B43"/>
          </p15:clr>
        </p15:guide>
        <p15:guide id="38" pos="6924" userDrawn="1">
          <p15:clr>
            <a:srgbClr val="F26B43"/>
          </p15:clr>
        </p15:guide>
        <p15:guide id="39" orient="horz" pos="2409" userDrawn="1">
          <p15:clr>
            <a:srgbClr val="C35EA4"/>
          </p15:clr>
        </p15:guide>
        <p15:guide id="40" orient="horz" pos="1162" userDrawn="1">
          <p15:clr>
            <a:srgbClr val="F26B43"/>
          </p15:clr>
        </p15:guide>
        <p15:guide id="41" orient="horz" pos="1412" userDrawn="1">
          <p15:clr>
            <a:srgbClr val="F26B43"/>
          </p15:clr>
        </p15:guide>
        <p15:guide id="42" orient="horz" pos="1911" userDrawn="1">
          <p15:clr>
            <a:srgbClr val="F26B43"/>
          </p15:clr>
        </p15:guide>
        <p15:guide id="44" orient="horz" pos="2160" userDrawn="1">
          <p15:clr>
            <a:srgbClr val="F26B43"/>
          </p15:clr>
        </p15:guide>
        <p15:guide id="47" orient="horz" pos="2659" userDrawn="1">
          <p15:clr>
            <a:srgbClr val="F26B43"/>
          </p15:clr>
        </p15:guide>
        <p15:guide id="48" orient="horz" pos="2908" userDrawn="1">
          <p15:clr>
            <a:srgbClr val="F26B43"/>
          </p15:clr>
        </p15:guide>
        <p15:guide id="49" orient="horz" pos="3158" userDrawn="1">
          <p15:clr>
            <a:srgbClr val="F26B43"/>
          </p15:clr>
        </p15:guide>
        <p15:guide id="50" orient="horz" pos="3407" userDrawn="1">
          <p15:clr>
            <a:srgbClr val="F26B43"/>
          </p15:clr>
        </p15:guide>
        <p15:guide id="51" orient="horz" pos="3657" userDrawn="1">
          <p15:clr>
            <a:srgbClr val="F26B43"/>
          </p15:clr>
        </p15:guide>
        <p15:guide id="53" orient="horz" pos="16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756B5322-E9E0-54E0-6CB8-01C7FF75D005}"/>
              </a:ext>
            </a:extLst>
          </p:cNvPr>
          <p:cNvSpPr>
            <a:spLocks noGrp="1"/>
          </p:cNvSpPr>
          <p:nvPr>
            <p:ph type="title"/>
          </p:nvPr>
        </p:nvSpPr>
        <p:spPr>
          <a:xfrm>
            <a:off x="587375" y="979007"/>
            <a:ext cx="8424864" cy="360099"/>
          </a:xfrm>
          <a:prstGeom prst="rect">
            <a:avLst/>
          </a:prstGeom>
        </p:spPr>
        <p:txBody>
          <a:bodyPr vert="horz" lIns="0" tIns="0" rIns="0" bIns="0" rtlCol="0" anchor="b">
            <a:noAutofit/>
          </a:bodyPr>
          <a:lstStyle/>
          <a:p>
            <a:endParaRPr lang="de-DE"/>
          </a:p>
        </p:txBody>
      </p:sp>
      <p:sp>
        <p:nvSpPr>
          <p:cNvPr id="4" name="Datumsplatzhalter 3">
            <a:extLst>
              <a:ext uri="{FF2B5EF4-FFF2-40B4-BE49-F238E27FC236}">
                <a16:creationId xmlns:a16="http://schemas.microsoft.com/office/drawing/2014/main" id="{C5C2B639-EB58-DF1D-D219-E665B7C99107}"/>
              </a:ext>
            </a:extLst>
          </p:cNvPr>
          <p:cNvSpPr>
            <a:spLocks noGrp="1"/>
          </p:cNvSpPr>
          <p:nvPr>
            <p:ph type="dt" sz="half" idx="2"/>
          </p:nvPr>
        </p:nvSpPr>
        <p:spPr>
          <a:xfrm>
            <a:off x="2044701" y="6573838"/>
            <a:ext cx="2743200" cy="123111"/>
          </a:xfrm>
          <a:prstGeom prst="rect">
            <a:avLst/>
          </a:prstGeom>
        </p:spPr>
        <p:txBody>
          <a:bodyPr vert="horz" lIns="0" tIns="0" rIns="0" bIns="0" rtlCol="0" anchor="t">
            <a:noAutofit/>
          </a:bodyPr>
          <a:lstStyle>
            <a:lvl1pPr algn="l">
              <a:defRPr sz="800">
                <a:solidFill>
                  <a:schemeClr val="tx1"/>
                </a:solidFill>
                <a:latin typeface="Untitled Sans Light" panose="020B0303030202060203" pitchFamily="34" charset="0"/>
              </a:defRPr>
            </a:lvl1pPr>
          </a:lstStyle>
          <a:p>
            <a:r>
              <a:rPr lang="de-DE"/>
              <a:t>| </a:t>
            </a:r>
            <a:fld id="{E17E128D-0124-42D7-973D-79F8508012BA}" type="datetime1">
              <a:rPr lang="de-DE" smtClean="0">
                <a:latin typeface="+mn-lt"/>
              </a:rPr>
              <a:t>18.01.24</a:t>
            </a:fld>
            <a:endParaRPr lang="de-DE">
              <a:latin typeface="+mn-lt"/>
            </a:endParaRPr>
          </a:p>
        </p:txBody>
      </p:sp>
      <p:sp>
        <p:nvSpPr>
          <p:cNvPr id="6" name="Foliennummernplatzhalter 5">
            <a:extLst>
              <a:ext uri="{FF2B5EF4-FFF2-40B4-BE49-F238E27FC236}">
                <a16:creationId xmlns:a16="http://schemas.microsoft.com/office/drawing/2014/main" id="{E7E67A84-96CA-9A55-2DBD-9C54F0E67466}"/>
              </a:ext>
            </a:extLst>
          </p:cNvPr>
          <p:cNvSpPr>
            <a:spLocks noGrp="1"/>
          </p:cNvSpPr>
          <p:nvPr>
            <p:ph type="sldNum" sz="quarter" idx="4"/>
          </p:nvPr>
        </p:nvSpPr>
        <p:spPr>
          <a:xfrm>
            <a:off x="11151393" y="6573838"/>
            <a:ext cx="848519" cy="123111"/>
          </a:xfrm>
          <a:prstGeom prst="rect">
            <a:avLst/>
          </a:prstGeom>
        </p:spPr>
        <p:txBody>
          <a:bodyPr vert="horz" lIns="0" tIns="0" rIns="0" bIns="0" rtlCol="0" anchor="t">
            <a:noAutofit/>
          </a:bodyPr>
          <a:lstStyle>
            <a:lvl1pPr algn="r">
              <a:defRPr sz="800">
                <a:solidFill>
                  <a:schemeClr val="tx1"/>
                </a:solidFill>
                <a:latin typeface="+mn-lt"/>
              </a:defRPr>
            </a:lvl1pPr>
          </a:lstStyle>
          <a:p>
            <a:r>
              <a:rPr lang="de-DE"/>
              <a:t>Seite </a:t>
            </a:r>
            <a:fld id="{F3829FEA-ED73-4A5A-98B4-E51078EAB7AC}" type="slidenum">
              <a:rPr lang="de-DE" smtClean="0">
                <a:latin typeface="+mj-lt"/>
              </a:rPr>
              <a:pPr/>
              <a:t>‹Nr.›</a:t>
            </a:fld>
            <a:endParaRPr lang="de-DE">
              <a:latin typeface="+mj-lt"/>
            </a:endParaRPr>
          </a:p>
        </p:txBody>
      </p:sp>
      <p:sp>
        <p:nvSpPr>
          <p:cNvPr id="14" name="Textfeld 13">
            <a:extLst>
              <a:ext uri="{FF2B5EF4-FFF2-40B4-BE49-F238E27FC236}">
                <a16:creationId xmlns:a16="http://schemas.microsoft.com/office/drawing/2014/main" id="{460E4C18-D23C-32A5-8C67-74C849A988B6}"/>
              </a:ext>
            </a:extLst>
          </p:cNvPr>
          <p:cNvSpPr txBox="1">
            <a:spLocks/>
          </p:cNvSpPr>
          <p:nvPr userDrawn="1"/>
        </p:nvSpPr>
        <p:spPr>
          <a:xfrm>
            <a:off x="192088" y="6573838"/>
            <a:ext cx="1928812" cy="123111"/>
          </a:xfrm>
          <a:prstGeom prst="rect">
            <a:avLst/>
          </a:prstGeom>
          <a:noFill/>
        </p:spPr>
        <p:txBody>
          <a:bodyPr wrap="square" lIns="0" tIns="0" rIns="0" bIns="0" rtlCol="0">
            <a:spAutoFit/>
          </a:bodyPr>
          <a:lstStyle/>
          <a:p>
            <a:r>
              <a:rPr lang="de-DE" sz="800" err="1">
                <a:latin typeface="+mj-lt"/>
              </a:rPr>
              <a:t>byte</a:t>
            </a:r>
            <a:r>
              <a:rPr lang="de-DE" sz="800">
                <a:latin typeface="+mn-lt"/>
              </a:rPr>
              <a:t> – Bayerische Agentur für Digitales</a:t>
            </a:r>
          </a:p>
        </p:txBody>
      </p:sp>
      <p:cxnSp>
        <p:nvCxnSpPr>
          <p:cNvPr id="16" name="Gerader Verbinder 15">
            <a:extLst>
              <a:ext uri="{FF2B5EF4-FFF2-40B4-BE49-F238E27FC236}">
                <a16:creationId xmlns:a16="http://schemas.microsoft.com/office/drawing/2014/main" id="{A1F97E57-690C-4BA3-99F1-604EF46ADD81}"/>
              </a:ext>
            </a:extLst>
          </p:cNvPr>
          <p:cNvCxnSpPr>
            <a:cxnSpLocks/>
          </p:cNvCxnSpPr>
          <p:nvPr userDrawn="1"/>
        </p:nvCxnSpPr>
        <p:spPr>
          <a:xfrm>
            <a:off x="587375" y="1393588"/>
            <a:ext cx="767556"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platzhalter 26">
            <a:extLst>
              <a:ext uri="{FF2B5EF4-FFF2-40B4-BE49-F238E27FC236}">
                <a16:creationId xmlns:a16="http://schemas.microsoft.com/office/drawing/2014/main" id="{CE2C139A-0456-BA18-2FEE-401D76A4389C}"/>
              </a:ext>
            </a:extLst>
          </p:cNvPr>
          <p:cNvSpPr>
            <a:spLocks noGrp="1"/>
          </p:cNvSpPr>
          <p:nvPr>
            <p:ph type="body" idx="1"/>
          </p:nvPr>
        </p:nvSpPr>
        <p:spPr>
          <a:xfrm>
            <a:off x="587375" y="1808170"/>
            <a:ext cx="11017250" cy="4608505"/>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689281850"/>
      </p:ext>
    </p:extLst>
  </p:cSld>
  <p:clrMap bg1="lt1" tx1="dk1" bg2="lt2" tx2="dk2" accent1="accent1" accent2="accent2" accent3="accent3" accent4="accent4" accent5="accent5" accent6="accent6" hlink="hlink" folHlink="folHlink"/>
  <p:sldLayoutIdLst>
    <p:sldLayoutId id="2147483764" r:id="rId1"/>
    <p:sldLayoutId id="2147483767" r:id="rId2"/>
    <p:sldLayoutId id="2147483766" r:id="rId3"/>
    <p:sldLayoutId id="2147483754" r:id="rId4"/>
    <p:sldLayoutId id="2147483742" r:id="rId5"/>
    <p:sldLayoutId id="2147483765" r:id="rId6"/>
    <p:sldLayoutId id="2147483730" r:id="rId7"/>
    <p:sldLayoutId id="2147483661" r:id="rId8"/>
    <p:sldLayoutId id="2147483662" r:id="rId9"/>
    <p:sldLayoutId id="2147483663" r:id="rId10"/>
    <p:sldLayoutId id="2147483720"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664" r:id="rId20"/>
    <p:sldLayoutId id="2147483665" r:id="rId21"/>
    <p:sldLayoutId id="2147483666" r:id="rId22"/>
    <p:sldLayoutId id="2147483667" r:id="rId23"/>
    <p:sldLayoutId id="2147483668" r:id="rId24"/>
    <p:sldLayoutId id="2147483669" r:id="rId25"/>
    <p:sldLayoutId id="2147483670" r:id="rId26"/>
    <p:sldLayoutId id="2147483671" r:id="rId27"/>
  </p:sldLayoutIdLst>
  <p:hf hdr="0" ftr="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0" indent="0" algn="l" defTabSz="914400" rtl="0" eaLnBrk="1" latinLnBrk="0" hangingPunct="1">
        <a:lnSpc>
          <a:spcPct val="120000"/>
        </a:lnSpc>
        <a:spcBef>
          <a:spcPts val="0"/>
        </a:spcBef>
        <a:buFont typeface="Untitled Sans Light" panose="020B0303030202060203"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20000"/>
        </a:lnSpc>
        <a:spcBef>
          <a:spcPts val="0"/>
        </a:spcBef>
        <a:buFont typeface="Untitled Sans Light" panose="020B0303030202060203" pitchFamily="34" charset="0"/>
        <a:buChar char="-"/>
        <a:defRPr sz="1600" kern="1200">
          <a:solidFill>
            <a:schemeClr val="tx1"/>
          </a:solidFill>
          <a:latin typeface="+mn-lt"/>
          <a:ea typeface="+mn-ea"/>
          <a:cs typeface="+mn-cs"/>
        </a:defRPr>
      </a:lvl2pPr>
      <a:lvl3pPr marL="361950" indent="-177800" algn="l" defTabSz="914400" rtl="0" eaLnBrk="1" latinLnBrk="0" hangingPunct="1">
        <a:lnSpc>
          <a:spcPct val="120000"/>
        </a:lnSpc>
        <a:spcBef>
          <a:spcPts val="0"/>
        </a:spcBef>
        <a:buSzPct val="90000"/>
        <a:buFont typeface="Wingdings" panose="05000000000000000000" pitchFamily="2" charset="2"/>
        <a:buChar char="§"/>
        <a:defRPr sz="1600" kern="1200">
          <a:solidFill>
            <a:schemeClr val="tx1"/>
          </a:solidFill>
          <a:latin typeface="+mn-lt"/>
          <a:ea typeface="+mn-ea"/>
          <a:cs typeface="+mn-cs"/>
        </a:defRPr>
      </a:lvl3pPr>
      <a:lvl4pPr marL="542925" indent="-180975" algn="l" defTabSz="914400" rtl="0" eaLnBrk="1" latinLnBrk="0" hangingPunct="1">
        <a:lnSpc>
          <a:spcPct val="120000"/>
        </a:lnSpc>
        <a:spcBef>
          <a:spcPts val="0"/>
        </a:spcBef>
        <a:buFont typeface="Arial" panose="020B0604020202020204" pitchFamily="34" charset="0"/>
        <a:buChar char="•"/>
        <a:defRPr sz="1600" kern="1200">
          <a:solidFill>
            <a:schemeClr val="tx1"/>
          </a:solidFill>
          <a:latin typeface="Untitled Sans Light" panose="020B0303030202060203" pitchFamily="34" charset="0"/>
          <a:ea typeface="+mn-ea"/>
          <a:cs typeface="+mn-cs"/>
        </a:defRPr>
      </a:lvl4pPr>
      <a:lvl5pPr marL="2057400" indent="-228600" algn="l" defTabSz="914400" rtl="0" eaLnBrk="1" latinLnBrk="0" hangingPunct="1">
        <a:lnSpc>
          <a:spcPct val="120000"/>
        </a:lnSpc>
        <a:spcBef>
          <a:spcPts val="0"/>
        </a:spcBef>
        <a:buFont typeface="Arial" panose="020B0604020202020204" pitchFamily="34" charset="0"/>
        <a:buChar char="•"/>
        <a:defRPr sz="1600" kern="1200">
          <a:solidFill>
            <a:schemeClr val="tx1"/>
          </a:solidFill>
          <a:latin typeface="Untitled Sans Light" panose="020B03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1" userDrawn="1">
          <p15:clr>
            <a:srgbClr val="F26B43"/>
          </p15:clr>
        </p15:guide>
        <p15:guide id="2" orient="horz" pos="119" userDrawn="1">
          <p15:clr>
            <a:srgbClr val="F26B43"/>
          </p15:clr>
        </p15:guide>
        <p15:guide id="3" pos="7559" userDrawn="1">
          <p15:clr>
            <a:srgbClr val="F26B43"/>
          </p15:clr>
        </p15:guide>
        <p15:guide id="4" orient="horz" pos="4201" userDrawn="1">
          <p15:clr>
            <a:srgbClr val="F26B43"/>
          </p15:clr>
        </p15:guide>
        <p15:guide id="5" pos="3840" userDrawn="1">
          <p15:clr>
            <a:srgbClr val="F26B43"/>
          </p15:clr>
        </p15:guide>
        <p15:guide id="6" pos="3795" userDrawn="1">
          <p15:clr>
            <a:srgbClr val="F26B43"/>
          </p15:clr>
        </p15:guide>
        <p15:guide id="7" pos="3885" userDrawn="1">
          <p15:clr>
            <a:srgbClr val="F26B43"/>
          </p15:clr>
        </p15:guide>
        <p15:guide id="8" orient="horz" pos="2160" userDrawn="1">
          <p15:clr>
            <a:srgbClr val="F26B43"/>
          </p15:clr>
        </p15:guide>
        <p15:guide id="9" orient="horz" pos="1139" userDrawn="1">
          <p15:clr>
            <a:srgbClr val="F26B43"/>
          </p15:clr>
        </p15:guide>
        <p15:guide id="10" orient="horz" pos="3181" userDrawn="1">
          <p15:clr>
            <a:srgbClr val="F26B43"/>
          </p15:clr>
        </p15:guide>
        <p15:guide id="11" pos="1958" userDrawn="1">
          <p15:clr>
            <a:srgbClr val="F26B43"/>
          </p15:clr>
        </p15:guide>
        <p15:guide id="12" pos="2003" userDrawn="1">
          <p15:clr>
            <a:srgbClr val="F26B43"/>
          </p15:clr>
        </p15:guide>
        <p15:guide id="13" pos="1912" userDrawn="1">
          <p15:clr>
            <a:srgbClr val="F26B43"/>
          </p15:clr>
        </p15:guide>
        <p15:guide id="14" pos="5722" userDrawn="1">
          <p15:clr>
            <a:srgbClr val="F26B43"/>
          </p15:clr>
        </p15:guide>
        <p15:guide id="15" pos="5768" userDrawn="1">
          <p15:clr>
            <a:srgbClr val="F26B43"/>
          </p15:clr>
        </p15:guide>
        <p15:guide id="16" pos="5677" userDrawn="1">
          <p15:clr>
            <a:srgbClr val="F26B43"/>
          </p15:clr>
        </p15:guide>
        <p15:guide id="17" orient="horz" pos="527" userDrawn="1">
          <p15:clr>
            <a:srgbClr val="F26B43"/>
          </p15:clr>
        </p15:guide>
        <p15:guide id="18" pos="7310" userDrawn="1">
          <p15:clr>
            <a:srgbClr val="F26B43"/>
          </p15:clr>
        </p15:guide>
        <p15:guide id="19" pos="370" userDrawn="1">
          <p15:clr>
            <a:srgbClr val="F26B43"/>
          </p15:clr>
        </p15:guide>
        <p15:guide id="20" orient="horz" pos="4042" userDrawn="1">
          <p15:clr>
            <a:srgbClr val="F26B43"/>
          </p15:clr>
        </p15:guide>
        <p15:guide id="21" pos="3522" userDrawn="1">
          <p15:clr>
            <a:srgbClr val="F26B43"/>
          </p15:clr>
        </p15:guide>
        <p15:guide id="22" pos="415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mailto:luis.mossburger@byte.bayern" TargetMode="External"/><Relationship Id="rId2" Type="http://schemas.openxmlformats.org/officeDocument/2006/relationships/image" Target="../media/image33.png"/><Relationship Id="rId1" Type="http://schemas.openxmlformats.org/officeDocument/2006/relationships/slideLayout" Target="../slideLayouts/slideLayout55.xml"/><Relationship Id="rId6" Type="http://schemas.openxmlformats.org/officeDocument/2006/relationships/hyperlink" Target="mailto:openbydata@byte.bayern" TargetMode="External"/><Relationship Id="rId5" Type="http://schemas.openxmlformats.org/officeDocument/2006/relationships/hyperlink" Target="https://open.bydata.de/" TargetMode="Externa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56.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56.xml"/><Relationship Id="rId5" Type="http://schemas.openxmlformats.org/officeDocument/2006/relationships/image" Target="../media/image26.png"/><Relationship Id="rId4" Type="http://schemas.openxmlformats.org/officeDocument/2006/relationships/image" Target="../media/image28.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5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51.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E5DC4C78-0BE6-389E-DD83-93AD608B48C0}"/>
              </a:ext>
            </a:extLst>
          </p:cNvPr>
          <p:cNvSpPr>
            <a:spLocks noGrp="1"/>
          </p:cNvSpPr>
          <p:nvPr>
            <p:ph type="title"/>
          </p:nvPr>
        </p:nvSpPr>
        <p:spPr/>
        <p:txBody>
          <a:bodyPr/>
          <a:lstStyle/>
          <a:p>
            <a:r>
              <a:rPr lang="de-DE" sz="4000"/>
              <a:t>Wir machen Bayern </a:t>
            </a:r>
            <a:br>
              <a:rPr lang="de-DE" sz="4000"/>
            </a:br>
            <a:r>
              <a:rPr lang="de-DE" sz="4000" u="sng">
                <a:uFill>
                  <a:solidFill>
                    <a:srgbClr val="009FE3"/>
                  </a:solidFill>
                </a:uFill>
              </a:rPr>
              <a:t>#openbydata</a:t>
            </a:r>
            <a:r>
              <a:rPr lang="de-DE" sz="4000">
                <a:latin typeface="+mj-lt"/>
              </a:rPr>
              <a:t>.</a:t>
            </a:r>
            <a:br>
              <a:rPr lang="de-DE" sz="4000"/>
            </a:br>
            <a:endParaRPr lang="de-DE" sz="4000"/>
          </a:p>
        </p:txBody>
      </p:sp>
    </p:spTree>
    <p:extLst>
      <p:ext uri="{BB962C8B-B14F-4D97-AF65-F5344CB8AC3E}">
        <p14:creationId xmlns:p14="http://schemas.microsoft.com/office/powerpoint/2010/main" val="2201049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279DD9C-55EC-60C1-853C-C1853B8A3524}"/>
              </a:ext>
            </a:extLst>
          </p:cNvPr>
          <p:cNvSpPr>
            <a:spLocks noGrp="1"/>
          </p:cNvSpPr>
          <p:nvPr>
            <p:ph type="dt" sz="half" idx="10"/>
          </p:nvPr>
        </p:nvSpPr>
        <p:spPr/>
        <p:txBody>
          <a:bodyPr/>
          <a:lstStyle/>
          <a:p>
            <a:r>
              <a:rPr lang="de-DE"/>
              <a:t>| </a:t>
            </a:r>
            <a:fld id="{5B7B5FAE-4D42-4F2F-8ACA-4394B12465EF}" type="datetime1">
              <a:rPr lang="de-DE" smtClean="0">
                <a:latin typeface="+mn-lt"/>
              </a:rPr>
              <a:pPr/>
              <a:t>18.01.24</a:t>
            </a:fld>
            <a:endParaRPr lang="de-DE">
              <a:latin typeface="+mn-lt"/>
            </a:endParaRPr>
          </a:p>
        </p:txBody>
      </p:sp>
      <p:sp>
        <p:nvSpPr>
          <p:cNvPr id="3" name="Foliennummernplatzhalter 2">
            <a:extLst>
              <a:ext uri="{FF2B5EF4-FFF2-40B4-BE49-F238E27FC236}">
                <a16:creationId xmlns:a16="http://schemas.microsoft.com/office/drawing/2014/main" id="{A3C6B71A-83BC-F44C-AEC7-545B97B4B788}"/>
              </a:ext>
            </a:extLst>
          </p:cNvPr>
          <p:cNvSpPr>
            <a:spLocks noGrp="1"/>
          </p:cNvSpPr>
          <p:nvPr>
            <p:ph type="sldNum" sz="quarter" idx="11"/>
          </p:nvPr>
        </p:nvSpPr>
        <p:spPr>
          <a:xfrm>
            <a:off x="11151393" y="6202131"/>
            <a:ext cx="848519" cy="123111"/>
          </a:xfrm>
        </p:spPr>
        <p:txBody>
          <a:bodyPr/>
          <a:lstStyle/>
          <a:p>
            <a:r>
              <a:rPr lang="de-DE"/>
              <a:t>Seite </a:t>
            </a:r>
            <a:fld id="{F3829FEA-ED73-4A5A-98B4-E51078EAB7AC}" type="slidenum">
              <a:rPr lang="de-DE" smtClean="0">
                <a:latin typeface="+mj-lt"/>
              </a:rPr>
              <a:pPr/>
              <a:t>10</a:t>
            </a:fld>
            <a:endParaRPr lang="de-DE">
              <a:latin typeface="+mj-lt"/>
            </a:endParaRPr>
          </a:p>
        </p:txBody>
      </p:sp>
      <p:sp>
        <p:nvSpPr>
          <p:cNvPr id="4" name="Textplatzhalter 3">
            <a:extLst>
              <a:ext uri="{FF2B5EF4-FFF2-40B4-BE49-F238E27FC236}">
                <a16:creationId xmlns:a16="http://schemas.microsoft.com/office/drawing/2014/main" id="{DC46326C-4B66-03C3-605E-B5E94299E62C}"/>
              </a:ext>
            </a:extLst>
          </p:cNvPr>
          <p:cNvSpPr>
            <a:spLocks noGrp="1"/>
          </p:cNvSpPr>
          <p:nvPr>
            <p:ph type="body" sz="quarter" idx="12"/>
          </p:nvPr>
        </p:nvSpPr>
        <p:spPr/>
        <p:txBody>
          <a:bodyPr/>
          <a:lstStyle/>
          <a:p>
            <a:endParaRPr lang="de-DE"/>
          </a:p>
        </p:txBody>
      </p:sp>
      <p:sp>
        <p:nvSpPr>
          <p:cNvPr id="5" name="Textplatzhalter 4">
            <a:extLst>
              <a:ext uri="{FF2B5EF4-FFF2-40B4-BE49-F238E27FC236}">
                <a16:creationId xmlns:a16="http://schemas.microsoft.com/office/drawing/2014/main" id="{B704507B-BE9E-8F23-4538-D8C08C95750E}"/>
              </a:ext>
            </a:extLst>
          </p:cNvPr>
          <p:cNvSpPr>
            <a:spLocks noGrp="1"/>
          </p:cNvSpPr>
          <p:nvPr>
            <p:ph type="body" sz="quarter" idx="13"/>
          </p:nvPr>
        </p:nvSpPr>
        <p:spPr/>
        <p:txBody>
          <a:bodyPr/>
          <a:lstStyle/>
          <a:p>
            <a:endParaRPr lang="de-DE"/>
          </a:p>
        </p:txBody>
      </p:sp>
      <p:sp>
        <p:nvSpPr>
          <p:cNvPr id="6" name="Rechteck 5">
            <a:extLst>
              <a:ext uri="{FF2B5EF4-FFF2-40B4-BE49-F238E27FC236}">
                <a16:creationId xmlns:a16="http://schemas.microsoft.com/office/drawing/2014/main" id="{FDC03DE5-4339-45C2-39C3-2DF2A14C8ECD}"/>
              </a:ext>
            </a:extLst>
          </p:cNvPr>
          <p:cNvSpPr/>
          <p:nvPr/>
        </p:nvSpPr>
        <p:spPr>
          <a:xfrm>
            <a:off x="-132522" y="-212035"/>
            <a:ext cx="12457043" cy="7282070"/>
          </a:xfrm>
          <a:prstGeom prst="rect">
            <a:avLst/>
          </a:prstGeom>
          <a:gradFill>
            <a:gsLst>
              <a:gs pos="0">
                <a:srgbClr val="0B1A25"/>
              </a:gs>
              <a:gs pos="100000">
                <a:srgbClr val="003F6F"/>
              </a:gs>
              <a:gs pos="70000">
                <a:srgbClr val="093150"/>
              </a:gs>
              <a:gs pos="100000">
                <a:srgbClr val="003F6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4" name="Gruppieren 13">
            <a:extLst>
              <a:ext uri="{FF2B5EF4-FFF2-40B4-BE49-F238E27FC236}">
                <a16:creationId xmlns:a16="http://schemas.microsoft.com/office/drawing/2014/main" id="{19211884-B5A1-4FCA-6AD5-AA3C3B5B7ED1}"/>
              </a:ext>
            </a:extLst>
          </p:cNvPr>
          <p:cNvGrpSpPr/>
          <p:nvPr/>
        </p:nvGrpSpPr>
        <p:grpSpPr>
          <a:xfrm>
            <a:off x="1167896" y="4750018"/>
            <a:ext cx="6114587" cy="1228367"/>
            <a:chOff x="1257763" y="1206675"/>
            <a:chExt cx="6114587" cy="1228367"/>
          </a:xfrm>
        </p:grpSpPr>
        <p:pic>
          <p:nvPicPr>
            <p:cNvPr id="21" name="Grafik 20">
              <a:extLst>
                <a:ext uri="{FF2B5EF4-FFF2-40B4-BE49-F238E27FC236}">
                  <a16:creationId xmlns:a16="http://schemas.microsoft.com/office/drawing/2014/main" id="{3DFE69C6-7615-F259-1869-C13789D718F9}"/>
                </a:ext>
              </a:extLst>
            </p:cNvPr>
            <p:cNvPicPr>
              <a:picLocks noChangeAspect="1"/>
            </p:cNvPicPr>
            <p:nvPr/>
          </p:nvPicPr>
          <p:blipFill>
            <a:blip r:embed="rId2"/>
            <a:stretch>
              <a:fillRect/>
            </a:stretch>
          </p:blipFill>
          <p:spPr>
            <a:xfrm>
              <a:off x="1257763" y="1280859"/>
              <a:ext cx="1080000" cy="1080000"/>
            </a:xfrm>
            <a:prstGeom prst="rect">
              <a:avLst/>
            </a:prstGeom>
          </p:spPr>
        </p:pic>
        <p:sp>
          <p:nvSpPr>
            <p:cNvPr id="30" name="Textplatzhalter 2">
              <a:extLst>
                <a:ext uri="{FF2B5EF4-FFF2-40B4-BE49-F238E27FC236}">
                  <a16:creationId xmlns:a16="http://schemas.microsoft.com/office/drawing/2014/main" id="{7B930138-B99F-2308-8F50-15FA565A83ED}"/>
                </a:ext>
              </a:extLst>
            </p:cNvPr>
            <p:cNvSpPr txBox="1">
              <a:spLocks/>
            </p:cNvSpPr>
            <p:nvPr/>
          </p:nvSpPr>
          <p:spPr>
            <a:xfrm>
              <a:off x="2834399" y="1206675"/>
              <a:ext cx="4537951" cy="1228367"/>
            </a:xfrm>
            <a:prstGeom prst="rect">
              <a:avLst/>
            </a:prstGeom>
          </p:spPr>
          <p:txBody>
            <a:bodyPr vert="horz" lIns="0" tIns="0" rIns="0" bIns="0" rtlCol="0" anchor="ctr">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a:solidFill>
                    <a:schemeClr val="bg1"/>
                  </a:solidFill>
                  <a:latin typeface="Inter" panose="02000503000000020004" pitchFamily="2" charset="0"/>
                  <a:ea typeface="Inter" panose="02000503000000020004" pitchFamily="2" charset="0"/>
                  <a:cs typeface="+mn-lt"/>
                </a:rPr>
                <a:t>Luis (</a:t>
              </a:r>
              <a:r>
                <a:rPr lang="de-DE" sz="1400" err="1">
                  <a:solidFill>
                    <a:schemeClr val="bg1"/>
                  </a:solidFill>
                  <a:latin typeface="Inter" panose="02000503000000020004" pitchFamily="2" charset="0"/>
                  <a:ea typeface="Inter" panose="02000503000000020004" pitchFamily="2" charset="0"/>
                  <a:cs typeface="+mn-lt"/>
                </a:rPr>
                <a:t>Moßburger</a:t>
              </a:r>
              <a:r>
                <a:rPr lang="de-DE" sz="1400">
                  <a:solidFill>
                    <a:schemeClr val="bg1"/>
                  </a:solidFill>
                  <a:latin typeface="Inter" panose="02000503000000020004" pitchFamily="2" charset="0"/>
                  <a:ea typeface="Inter" panose="02000503000000020004" pitchFamily="2" charset="0"/>
                  <a:cs typeface="+mn-lt"/>
                </a:rPr>
                <a:t>)</a:t>
              </a:r>
              <a:br>
                <a:rPr lang="de-DE" sz="1400">
                  <a:solidFill>
                    <a:schemeClr val="bg1"/>
                  </a:solidFill>
                  <a:latin typeface="Inter" panose="02000503000000020004" pitchFamily="2" charset="0"/>
                  <a:ea typeface="Inter" panose="02000503000000020004" pitchFamily="2" charset="0"/>
                  <a:cs typeface="+mn-lt"/>
                </a:rPr>
              </a:br>
              <a:r>
                <a:rPr lang="de-DE" sz="1400" err="1">
                  <a:solidFill>
                    <a:schemeClr val="bg1"/>
                  </a:solidFill>
                  <a:latin typeface="Inter" panose="02000503000000020004" pitchFamily="2" charset="0"/>
                  <a:ea typeface="Inter" panose="02000503000000020004" pitchFamily="2" charset="0"/>
                  <a:cs typeface="+mn-lt"/>
                </a:rPr>
                <a:t>Product</a:t>
              </a:r>
              <a:r>
                <a:rPr lang="de-DE" sz="1400">
                  <a:solidFill>
                    <a:schemeClr val="bg1"/>
                  </a:solidFill>
                  <a:latin typeface="Inter" panose="02000503000000020004" pitchFamily="2" charset="0"/>
                  <a:ea typeface="Inter" panose="02000503000000020004" pitchFamily="2" charset="0"/>
                  <a:cs typeface="+mn-lt"/>
                </a:rPr>
                <a:t> </a:t>
              </a:r>
              <a:r>
                <a:rPr lang="de-DE" sz="1400" err="1">
                  <a:solidFill>
                    <a:schemeClr val="bg1"/>
                  </a:solidFill>
                  <a:latin typeface="Inter" panose="02000503000000020004" pitchFamily="2" charset="0"/>
                  <a:ea typeface="Inter" panose="02000503000000020004" pitchFamily="2" charset="0"/>
                  <a:cs typeface="+mn-lt"/>
                </a:rPr>
                <a:t>Owner</a:t>
              </a:r>
              <a:endParaRPr lang="de-DE" sz="1400">
                <a:solidFill>
                  <a:schemeClr val="bg1"/>
                </a:solidFill>
                <a:latin typeface="Inter" panose="02000503000000020004" pitchFamily="2" charset="0"/>
                <a:ea typeface="Inter" panose="02000503000000020004" pitchFamily="2" charset="0"/>
                <a:cs typeface="+mn-lt"/>
              </a:endParaRPr>
            </a:p>
            <a:p>
              <a:r>
                <a:rPr lang="de-DE" sz="1400">
                  <a:solidFill>
                    <a:schemeClr val="bg1"/>
                  </a:solidFill>
                  <a:latin typeface="Inter" panose="02000503000000020004" pitchFamily="2" charset="0"/>
                  <a:ea typeface="Inter" panose="02000503000000020004" pitchFamily="2" charset="0"/>
                  <a:cs typeface="+mn-lt"/>
                  <a:hlinkClick r:id="rId3"/>
                </a:rPr>
                <a:t>luis.mossburger@byte.bayern</a:t>
              </a:r>
              <a:r>
                <a:rPr lang="de-DE" sz="1400">
                  <a:solidFill>
                    <a:schemeClr val="bg1"/>
                  </a:solidFill>
                  <a:latin typeface="Inter" panose="02000503000000020004" pitchFamily="2" charset="0"/>
                  <a:ea typeface="Inter" panose="02000503000000020004" pitchFamily="2" charset="0"/>
                  <a:cs typeface="+mn-lt"/>
                </a:rPr>
                <a:t> </a:t>
              </a:r>
              <a:endParaRPr lang="de-DE">
                <a:solidFill>
                  <a:schemeClr val="bg1"/>
                </a:solidFill>
                <a:latin typeface="Inter" panose="02000503000000020004" pitchFamily="2" charset="0"/>
                <a:ea typeface="Inter" panose="02000503000000020004" pitchFamily="2" charset="0"/>
              </a:endParaRPr>
            </a:p>
          </p:txBody>
        </p:sp>
      </p:grpSp>
      <p:pic>
        <p:nvPicPr>
          <p:cNvPr id="9" name="Grafik 9" descr="Ein Bild, das Schrift, Grafiken, Screenshot, Logo enthält.&#10;&#10;Beschreibung automatisch generiert.">
            <a:extLst>
              <a:ext uri="{FF2B5EF4-FFF2-40B4-BE49-F238E27FC236}">
                <a16:creationId xmlns:a16="http://schemas.microsoft.com/office/drawing/2014/main" id="{7009576A-4CD9-8E80-5CC3-3813DAA7FAAB}"/>
              </a:ext>
            </a:extLst>
          </p:cNvPr>
          <p:cNvPicPr>
            <a:picLocks noChangeAspect="1"/>
          </p:cNvPicPr>
          <p:nvPr/>
        </p:nvPicPr>
        <p:blipFill>
          <a:blip r:embed="rId4"/>
          <a:stretch>
            <a:fillRect/>
          </a:stretch>
        </p:blipFill>
        <p:spPr>
          <a:xfrm>
            <a:off x="9866898" y="647135"/>
            <a:ext cx="1598336" cy="592760"/>
          </a:xfrm>
          <a:prstGeom prst="rect">
            <a:avLst/>
          </a:prstGeom>
        </p:spPr>
      </p:pic>
      <p:sp>
        <p:nvSpPr>
          <p:cNvPr id="15" name="Textplatzhalter 2">
            <a:extLst>
              <a:ext uri="{FF2B5EF4-FFF2-40B4-BE49-F238E27FC236}">
                <a16:creationId xmlns:a16="http://schemas.microsoft.com/office/drawing/2014/main" id="{B6126793-8AB3-C10F-AA4E-CFD7FFC43F96}"/>
              </a:ext>
            </a:extLst>
          </p:cNvPr>
          <p:cNvSpPr txBox="1">
            <a:spLocks/>
          </p:cNvSpPr>
          <p:nvPr/>
        </p:nvSpPr>
        <p:spPr>
          <a:xfrm>
            <a:off x="1167896" y="1102730"/>
            <a:ext cx="7785330" cy="1372841"/>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2800" b="1">
                <a:solidFill>
                  <a:schemeClr val="bg1"/>
                </a:solidFill>
                <a:latin typeface="Space Grotesk" pitchFamily="2" charset="77"/>
                <a:ea typeface="Inter" panose="02000503000000020004" pitchFamily="2" charset="0"/>
                <a:cs typeface="Space Grotesk" pitchFamily="2" charset="77"/>
              </a:rPr>
              <a:t>Machen wir Bayern #</a:t>
            </a:r>
            <a:r>
              <a:rPr lang="de-DE" sz="2800" b="1" err="1">
                <a:solidFill>
                  <a:schemeClr val="bg1"/>
                </a:solidFill>
                <a:latin typeface="Space Grotesk" pitchFamily="2" charset="77"/>
                <a:ea typeface="Inter" panose="02000503000000020004" pitchFamily="2" charset="0"/>
                <a:cs typeface="Space Grotesk" pitchFamily="2" charset="77"/>
              </a:rPr>
              <a:t>openbydata</a:t>
            </a:r>
            <a:endParaRPr lang="de-DE" sz="2800" b="1">
              <a:solidFill>
                <a:schemeClr val="bg1"/>
              </a:solidFill>
              <a:latin typeface="Space Grotesk" pitchFamily="2" charset="77"/>
              <a:ea typeface="Inter" panose="02000503000000020004" pitchFamily="2" charset="0"/>
              <a:cs typeface="Space Grotesk" pitchFamily="2" charset="77"/>
            </a:endParaRPr>
          </a:p>
          <a:p>
            <a:r>
              <a:rPr lang="de-DE" sz="1600">
                <a:solidFill>
                  <a:schemeClr val="bg1"/>
                </a:solidFill>
                <a:latin typeface="Inter" panose="02000503000000020004" pitchFamily="2" charset="0"/>
                <a:ea typeface="Inter" panose="02000503000000020004" pitchFamily="2" charset="0"/>
                <a:cs typeface="Space Grotesk" pitchFamily="2" charset="77"/>
              </a:rPr>
              <a:t>Wir freuen uns über jeden Datensatz, jede Idee, jedes Gespräch!</a:t>
            </a:r>
            <a:br>
              <a:rPr lang="de-DE" sz="2400" b="1">
                <a:solidFill>
                  <a:schemeClr val="bg1"/>
                </a:solidFill>
                <a:latin typeface="Space Grotesk" pitchFamily="2" charset="77"/>
                <a:ea typeface="Inter" panose="02000503000000020004" pitchFamily="2" charset="0"/>
                <a:cs typeface="Space Grotesk" pitchFamily="2" charset="77"/>
              </a:rPr>
            </a:br>
            <a:endParaRPr lang="de-DE" sz="2400" b="1">
              <a:solidFill>
                <a:schemeClr val="bg1"/>
              </a:solidFill>
              <a:latin typeface="Space Grotesk" pitchFamily="2" charset="77"/>
              <a:ea typeface="Inter" panose="02000503000000020004" pitchFamily="2" charset="0"/>
              <a:cs typeface="Space Grotesk" pitchFamily="2" charset="77"/>
            </a:endParaRPr>
          </a:p>
          <a:p>
            <a:pPr>
              <a:lnSpc>
                <a:spcPct val="150000"/>
              </a:lnSpc>
            </a:pPr>
            <a:r>
              <a:rPr lang="de-DE" sz="1200">
                <a:solidFill>
                  <a:schemeClr val="bg1"/>
                </a:solidFill>
                <a:latin typeface="Inter" panose="02000503000000020004" pitchFamily="2" charset="0"/>
                <a:ea typeface="Inter" panose="02000503000000020004" pitchFamily="2" charset="0"/>
                <a:cs typeface="Space Grotesk" pitchFamily="2" charset="77"/>
                <a:hlinkClick r:id="rId5"/>
              </a:rPr>
              <a:t>https://open.bydata.de</a:t>
            </a:r>
            <a:endParaRPr lang="de-DE" sz="1200">
              <a:solidFill>
                <a:schemeClr val="bg1"/>
              </a:solidFill>
              <a:latin typeface="Inter" panose="02000503000000020004" pitchFamily="2" charset="0"/>
              <a:ea typeface="Inter" panose="02000503000000020004" pitchFamily="2" charset="0"/>
              <a:cs typeface="Space Grotesk" pitchFamily="2" charset="77"/>
            </a:endParaRPr>
          </a:p>
          <a:p>
            <a:pPr>
              <a:lnSpc>
                <a:spcPct val="150000"/>
              </a:lnSpc>
            </a:pPr>
            <a:r>
              <a:rPr lang="de-DE" sz="1200">
                <a:solidFill>
                  <a:schemeClr val="bg1"/>
                </a:solidFill>
                <a:latin typeface="Inter" panose="02000503000000020004" pitchFamily="2" charset="0"/>
                <a:ea typeface="Inter" panose="02000503000000020004" pitchFamily="2" charset="0"/>
                <a:cs typeface="Space Grotesk" pitchFamily="2" charset="77"/>
                <a:hlinkClick r:id="rId6"/>
              </a:rPr>
              <a:t>openbydata@byte.bayern</a:t>
            </a:r>
            <a:r>
              <a:rPr lang="de-DE" sz="1200">
                <a:solidFill>
                  <a:schemeClr val="bg1"/>
                </a:solidFill>
                <a:latin typeface="Inter" panose="02000503000000020004" pitchFamily="2" charset="0"/>
                <a:ea typeface="Inter" panose="02000503000000020004" pitchFamily="2" charset="0"/>
                <a:cs typeface="Space Grotesk" pitchFamily="2" charset="77"/>
              </a:rPr>
              <a:t> </a:t>
            </a:r>
          </a:p>
        </p:txBody>
      </p:sp>
    </p:spTree>
    <p:extLst>
      <p:ext uri="{BB962C8B-B14F-4D97-AF65-F5344CB8AC3E}">
        <p14:creationId xmlns:p14="http://schemas.microsoft.com/office/powerpoint/2010/main" val="24700038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888D5AE-263D-1A8C-057E-46FABE53A5FE}"/>
              </a:ext>
            </a:extLst>
          </p:cNvPr>
          <p:cNvSpPr/>
          <p:nvPr/>
        </p:nvSpPr>
        <p:spPr>
          <a:xfrm>
            <a:off x="0" y="5733535"/>
            <a:ext cx="3089189" cy="11244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descr="Ein Bild, das Screenshot, Schwarz, Dunkelheit enthält.&#10;&#10;Automatisch generierte Beschreibung">
            <a:extLst>
              <a:ext uri="{FF2B5EF4-FFF2-40B4-BE49-F238E27FC236}">
                <a16:creationId xmlns:a16="http://schemas.microsoft.com/office/drawing/2014/main" id="{D69AA9A5-9DC5-D4AB-B059-7086336429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2080" y="3010925"/>
            <a:ext cx="8312510" cy="5135116"/>
          </a:xfrm>
          <a:prstGeom prst="rect">
            <a:avLst/>
          </a:prstGeom>
        </p:spPr>
      </p:pic>
      <p:pic>
        <p:nvPicPr>
          <p:cNvPr id="6" name="Grafik 5" descr="Ein Bild, das Grafiken, Schrift, Screenshot, Logo enthält.&#10;&#10;Automatisch generierte Beschreibung">
            <a:extLst>
              <a:ext uri="{FF2B5EF4-FFF2-40B4-BE49-F238E27FC236}">
                <a16:creationId xmlns:a16="http://schemas.microsoft.com/office/drawing/2014/main" id="{E13A1590-DA43-4E35-7B09-A75FC80C55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34170" y="401443"/>
            <a:ext cx="1838155" cy="845551"/>
          </a:xfrm>
          <a:prstGeom prst="rect">
            <a:avLst/>
          </a:prstGeom>
        </p:spPr>
      </p:pic>
      <p:sp>
        <p:nvSpPr>
          <p:cNvPr id="11" name="Rechteck 10">
            <a:extLst>
              <a:ext uri="{FF2B5EF4-FFF2-40B4-BE49-F238E27FC236}">
                <a16:creationId xmlns:a16="http://schemas.microsoft.com/office/drawing/2014/main" id="{975122AF-BB9D-B0E1-FC4E-5831B5F31E29}"/>
              </a:ext>
            </a:extLst>
          </p:cNvPr>
          <p:cNvSpPr/>
          <p:nvPr/>
        </p:nvSpPr>
        <p:spPr>
          <a:xfrm>
            <a:off x="357809" y="834887"/>
            <a:ext cx="1563756" cy="11131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A79DF562-DAF0-5FC2-7BD0-B944E5A28E7C}"/>
              </a:ext>
            </a:extLst>
          </p:cNvPr>
          <p:cNvSpPr txBox="1"/>
          <p:nvPr/>
        </p:nvSpPr>
        <p:spPr>
          <a:xfrm>
            <a:off x="1985899" y="2524155"/>
            <a:ext cx="8220199" cy="1723549"/>
          </a:xfrm>
          <a:prstGeom prst="rect">
            <a:avLst/>
          </a:prstGeom>
          <a:noFill/>
        </p:spPr>
        <p:txBody>
          <a:bodyPr wrap="none" lIns="0" tIns="0" rIns="0" bIns="0" rtlCol="0">
            <a:spAutoFit/>
          </a:bodyPr>
          <a:lstStyle/>
          <a:p>
            <a:pPr algn="ctr"/>
            <a:r>
              <a:rPr lang="de-DE" sz="2000" dirty="0">
                <a:solidFill>
                  <a:srgbClr val="000000"/>
                </a:solidFill>
                <a:latin typeface="Inter" panose="02000503000000020004" pitchFamily="2" charset="0"/>
                <a:ea typeface="Inter" panose="02000503000000020004" pitchFamily="2" charset="0"/>
              </a:rPr>
              <a:t>Unsere Vision</a:t>
            </a:r>
            <a:br>
              <a:rPr lang="de-DE" sz="2000" dirty="0">
                <a:solidFill>
                  <a:srgbClr val="000000"/>
                </a:solidFill>
                <a:latin typeface="Inter" panose="02000503000000020004" pitchFamily="2" charset="0"/>
                <a:ea typeface="Inter" panose="02000503000000020004" pitchFamily="2" charset="0"/>
              </a:rPr>
            </a:br>
            <a:br>
              <a:rPr lang="de-DE" sz="2000" dirty="0">
                <a:solidFill>
                  <a:srgbClr val="000000"/>
                </a:solidFill>
              </a:rPr>
            </a:br>
            <a:r>
              <a:rPr lang="de-DE" sz="3600" b="1" dirty="0">
                <a:solidFill>
                  <a:srgbClr val="000000"/>
                </a:solidFill>
                <a:latin typeface="Space Grotesk" pitchFamily="2" charset="77"/>
                <a:cs typeface="Space Grotesk" pitchFamily="2" charset="77"/>
              </a:rPr>
              <a:t>Ein besseres Bayern durch Daten:</a:t>
            </a:r>
            <a:br>
              <a:rPr lang="de-DE" sz="3600" b="1" dirty="0">
                <a:solidFill>
                  <a:srgbClr val="000000"/>
                </a:solidFill>
                <a:latin typeface="Space Grotesk" pitchFamily="2" charset="77"/>
                <a:cs typeface="Space Grotesk" pitchFamily="2" charset="77"/>
              </a:rPr>
            </a:br>
            <a:r>
              <a:rPr lang="de-DE" sz="3600" b="1" dirty="0">
                <a:solidFill>
                  <a:srgbClr val="000000"/>
                </a:solidFill>
                <a:latin typeface="Space Grotesk" pitchFamily="2" charset="77"/>
                <a:cs typeface="Space Grotesk" pitchFamily="2" charset="77"/>
              </a:rPr>
              <a:t>Einfach, vertrauenswürdig, vernetzt.</a:t>
            </a:r>
            <a:endParaRPr lang="de-DE" sz="2000" b="1" dirty="0">
              <a:solidFill>
                <a:srgbClr val="000000"/>
              </a:solidFill>
              <a:latin typeface="Space Grotesk" pitchFamily="2" charset="77"/>
              <a:cs typeface="Space Grotesk" pitchFamily="2" charset="77"/>
            </a:endParaRPr>
          </a:p>
        </p:txBody>
      </p:sp>
    </p:spTree>
    <p:extLst>
      <p:ext uri="{BB962C8B-B14F-4D97-AF65-F5344CB8AC3E}">
        <p14:creationId xmlns:p14="http://schemas.microsoft.com/office/powerpoint/2010/main" val="408761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FCB3A3A8-AB3C-C684-1D28-BD72766870F0}"/>
              </a:ext>
            </a:extLst>
          </p:cNvPr>
          <p:cNvSpPr/>
          <p:nvPr/>
        </p:nvSpPr>
        <p:spPr>
          <a:xfrm>
            <a:off x="0" y="6430146"/>
            <a:ext cx="1959731" cy="427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50AAAE78-F515-F429-74B4-5993589C9293}"/>
              </a:ext>
            </a:extLst>
          </p:cNvPr>
          <p:cNvSpPr/>
          <p:nvPr/>
        </p:nvSpPr>
        <p:spPr>
          <a:xfrm>
            <a:off x="-132522" y="-212035"/>
            <a:ext cx="12457043" cy="7195931"/>
          </a:xfrm>
          <a:prstGeom prst="rect">
            <a:avLst/>
          </a:prstGeom>
          <a:gradFill>
            <a:gsLst>
              <a:gs pos="0">
                <a:srgbClr val="0B1A25"/>
              </a:gs>
              <a:gs pos="100000">
                <a:srgbClr val="003F6F"/>
              </a:gs>
              <a:gs pos="70000">
                <a:srgbClr val="093150"/>
              </a:gs>
              <a:gs pos="100000">
                <a:srgbClr val="003F6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9" descr="Ein Bild, das Schrift, Grafiken, Screenshot, Logo enthält.&#10;&#10;Beschreibung automatisch generiert.">
            <a:extLst>
              <a:ext uri="{FF2B5EF4-FFF2-40B4-BE49-F238E27FC236}">
                <a16:creationId xmlns:a16="http://schemas.microsoft.com/office/drawing/2014/main" id="{4E628A00-78E7-3790-3E74-B6100354DF1B}"/>
              </a:ext>
            </a:extLst>
          </p:cNvPr>
          <p:cNvPicPr>
            <a:picLocks noChangeAspect="1"/>
          </p:cNvPicPr>
          <p:nvPr/>
        </p:nvPicPr>
        <p:blipFill>
          <a:blip r:embed="rId3"/>
          <a:stretch>
            <a:fillRect/>
          </a:stretch>
        </p:blipFill>
        <p:spPr>
          <a:xfrm>
            <a:off x="10076986" y="543364"/>
            <a:ext cx="1533732" cy="568800"/>
          </a:xfrm>
          <a:prstGeom prst="rect">
            <a:avLst/>
          </a:prstGeom>
        </p:spPr>
      </p:pic>
      <p:sp>
        <p:nvSpPr>
          <p:cNvPr id="3" name="Textfeld 2">
            <a:extLst>
              <a:ext uri="{FF2B5EF4-FFF2-40B4-BE49-F238E27FC236}">
                <a16:creationId xmlns:a16="http://schemas.microsoft.com/office/drawing/2014/main" id="{F3CDF1E2-4FAB-7D6C-6483-2DADB0CAE7A8}"/>
              </a:ext>
            </a:extLst>
          </p:cNvPr>
          <p:cNvSpPr txBox="1"/>
          <p:nvPr/>
        </p:nvSpPr>
        <p:spPr>
          <a:xfrm>
            <a:off x="1639669" y="2524155"/>
            <a:ext cx="8912697" cy="1723549"/>
          </a:xfrm>
          <a:prstGeom prst="rect">
            <a:avLst/>
          </a:prstGeom>
          <a:noFill/>
        </p:spPr>
        <p:txBody>
          <a:bodyPr wrap="none" lIns="0" tIns="0" rIns="0" bIns="0" rtlCol="0">
            <a:spAutoFit/>
          </a:bodyPr>
          <a:lstStyle/>
          <a:p>
            <a:pPr algn="ctr"/>
            <a:r>
              <a:rPr lang="de-DE" sz="2000" dirty="0">
                <a:solidFill>
                  <a:schemeClr val="bg1"/>
                </a:solidFill>
                <a:latin typeface="Inter" panose="02000503000000020004" pitchFamily="2" charset="0"/>
                <a:ea typeface="Inter" panose="02000503000000020004" pitchFamily="2" charset="0"/>
              </a:rPr>
              <a:t>Die Frage</a:t>
            </a:r>
            <a:br>
              <a:rPr lang="de-DE" sz="2000" dirty="0">
                <a:solidFill>
                  <a:schemeClr val="bg1"/>
                </a:solidFill>
                <a:latin typeface="Inter" panose="02000503000000020004" pitchFamily="2" charset="0"/>
                <a:ea typeface="Inter" panose="02000503000000020004" pitchFamily="2" charset="0"/>
              </a:rPr>
            </a:br>
            <a:br>
              <a:rPr lang="de-DE" sz="2000" dirty="0">
                <a:solidFill>
                  <a:schemeClr val="bg1"/>
                </a:solidFill>
              </a:rPr>
            </a:br>
            <a:r>
              <a:rPr lang="de-DE" sz="3600" b="1" dirty="0">
                <a:solidFill>
                  <a:schemeClr val="bg1"/>
                </a:solidFill>
                <a:latin typeface="Space Grotesk" pitchFamily="2" charset="77"/>
                <a:cs typeface="Space Grotesk" pitchFamily="2" charset="77"/>
              </a:rPr>
              <a:t>Wie unterstützen wir (auch) Kommunen </a:t>
            </a:r>
          </a:p>
          <a:p>
            <a:pPr algn="ctr"/>
            <a:r>
              <a:rPr lang="de-DE" sz="3600" b="1" dirty="0">
                <a:solidFill>
                  <a:schemeClr val="bg1"/>
                </a:solidFill>
                <a:latin typeface="Space Grotesk" pitchFamily="2" charset="77"/>
                <a:cs typeface="Space Grotesk" pitchFamily="2" charset="77"/>
              </a:rPr>
              <a:t>bei der Umsetzung der DVO-HVD?</a:t>
            </a:r>
            <a:endParaRPr lang="de-DE" sz="2000" b="1" dirty="0">
              <a:solidFill>
                <a:schemeClr val="bg1"/>
              </a:solidFill>
              <a:latin typeface="Space Grotesk" pitchFamily="2" charset="77"/>
              <a:cs typeface="Space Grotesk" pitchFamily="2" charset="77"/>
            </a:endParaRPr>
          </a:p>
        </p:txBody>
      </p:sp>
    </p:spTree>
    <p:extLst>
      <p:ext uri="{BB962C8B-B14F-4D97-AF65-F5344CB8AC3E}">
        <p14:creationId xmlns:p14="http://schemas.microsoft.com/office/powerpoint/2010/main" val="2554559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96D1DE2-73B7-C650-1233-6CA48CBD0649}"/>
              </a:ext>
            </a:extLst>
          </p:cNvPr>
          <p:cNvSpPr>
            <a:spLocks noGrp="1"/>
          </p:cNvSpPr>
          <p:nvPr>
            <p:ph type="dt" sz="half" idx="10"/>
          </p:nvPr>
        </p:nvSpPr>
        <p:spPr/>
        <p:txBody>
          <a:bodyPr/>
          <a:lstStyle/>
          <a:p>
            <a:r>
              <a:rPr lang="de-DE"/>
              <a:t>| </a:t>
            </a:r>
            <a:fld id="{47EF7EB3-6D1D-4B0B-B3F8-F3B2751CB2E6}" type="datetime1">
              <a:rPr lang="de-DE" smtClean="0">
                <a:latin typeface="+mn-lt"/>
              </a:rPr>
              <a:t>18.01.24</a:t>
            </a:fld>
            <a:endParaRPr lang="de-DE">
              <a:latin typeface="+mn-lt"/>
            </a:endParaRPr>
          </a:p>
        </p:txBody>
      </p:sp>
      <p:sp>
        <p:nvSpPr>
          <p:cNvPr id="3" name="Foliennummernplatzhalter 2">
            <a:extLst>
              <a:ext uri="{FF2B5EF4-FFF2-40B4-BE49-F238E27FC236}">
                <a16:creationId xmlns:a16="http://schemas.microsoft.com/office/drawing/2014/main" id="{9120BB18-63CB-497D-72D2-E45838AE6B80}"/>
              </a:ext>
            </a:extLst>
          </p:cNvPr>
          <p:cNvSpPr>
            <a:spLocks noGrp="1"/>
          </p:cNvSpPr>
          <p:nvPr>
            <p:ph type="sldNum" sz="quarter" idx="11"/>
          </p:nvPr>
        </p:nvSpPr>
        <p:spPr/>
        <p:txBody>
          <a:bodyPr/>
          <a:lstStyle/>
          <a:p>
            <a:r>
              <a:rPr lang="de-DE"/>
              <a:t>Seite </a:t>
            </a:r>
            <a:fld id="{F3829FEA-ED73-4A5A-98B4-E51078EAB7AC}" type="slidenum">
              <a:rPr lang="de-DE" smtClean="0">
                <a:latin typeface="+mj-lt"/>
              </a:rPr>
              <a:pPr/>
              <a:t>4</a:t>
            </a:fld>
            <a:endParaRPr lang="de-DE">
              <a:latin typeface="+mj-lt"/>
            </a:endParaRPr>
          </a:p>
        </p:txBody>
      </p:sp>
      <p:sp>
        <p:nvSpPr>
          <p:cNvPr id="4" name="Textplatzhalter 3">
            <a:extLst>
              <a:ext uri="{FF2B5EF4-FFF2-40B4-BE49-F238E27FC236}">
                <a16:creationId xmlns:a16="http://schemas.microsoft.com/office/drawing/2014/main" id="{238C3D29-A1DB-3BE0-C088-2F4CAC92AA4D}"/>
              </a:ext>
            </a:extLst>
          </p:cNvPr>
          <p:cNvSpPr>
            <a:spLocks noGrp="1"/>
          </p:cNvSpPr>
          <p:nvPr>
            <p:ph type="body" sz="quarter" idx="13"/>
          </p:nvPr>
        </p:nvSpPr>
        <p:spPr/>
        <p:txBody>
          <a:bodyPr vert="horz" lIns="0" tIns="0" rIns="0" bIns="0" rtlCol="0" anchor="t">
            <a:normAutofit/>
          </a:bodyPr>
          <a:lstStyle/>
          <a:p>
            <a:r>
              <a:rPr lang="de-DE" b="1" dirty="0">
                <a:solidFill>
                  <a:srgbClr val="303030"/>
                </a:solidFill>
              </a:rPr>
              <a:t>Unsere Beratung hilft bei:</a:t>
            </a:r>
          </a:p>
          <a:p>
            <a:endParaRPr lang="de-DE" b="1" dirty="0">
              <a:solidFill>
                <a:srgbClr val="303030"/>
              </a:solidFill>
            </a:endParaRPr>
          </a:p>
          <a:p>
            <a:pPr marL="285750" indent="-285750">
              <a:buFont typeface="Arial" panose="020B0604020202020204" pitchFamily="34" charset="0"/>
              <a:buChar char="•"/>
            </a:pPr>
            <a:r>
              <a:rPr lang="de-DE" b="1" dirty="0">
                <a:solidFill>
                  <a:srgbClr val="303030"/>
                </a:solidFill>
              </a:rPr>
              <a:t>Identifizieren betroffener Datensätze</a:t>
            </a:r>
          </a:p>
          <a:p>
            <a:pPr marL="285750" indent="-285750">
              <a:buFont typeface="Arial" panose="020B0604020202020204" pitchFamily="34" charset="0"/>
              <a:buChar char="•"/>
            </a:pPr>
            <a:r>
              <a:rPr lang="de-DE" b="1" dirty="0">
                <a:solidFill>
                  <a:srgbClr val="303030"/>
                </a:solidFill>
              </a:rPr>
              <a:t>Auswahl der richtigen Lizenz</a:t>
            </a:r>
          </a:p>
          <a:p>
            <a:pPr marL="285750" indent="-285750">
              <a:buFont typeface="Arial" panose="020B0604020202020204" pitchFamily="34" charset="0"/>
              <a:buChar char="•"/>
            </a:pPr>
            <a:r>
              <a:rPr lang="de-DE" b="1" dirty="0">
                <a:solidFill>
                  <a:srgbClr val="303030"/>
                </a:solidFill>
              </a:rPr>
              <a:t>Bereitstellung qualitativer Metadaten</a:t>
            </a:r>
            <a:endParaRPr lang="de-DE" b="1" dirty="0"/>
          </a:p>
        </p:txBody>
      </p:sp>
      <p:sp>
        <p:nvSpPr>
          <p:cNvPr id="5" name="Titel 4">
            <a:extLst>
              <a:ext uri="{FF2B5EF4-FFF2-40B4-BE49-F238E27FC236}">
                <a16:creationId xmlns:a16="http://schemas.microsoft.com/office/drawing/2014/main" id="{079C4434-0496-53DB-0A7D-89E502F81B8E}"/>
              </a:ext>
            </a:extLst>
          </p:cNvPr>
          <p:cNvSpPr>
            <a:spLocks noGrp="1"/>
          </p:cNvSpPr>
          <p:nvPr>
            <p:ph type="title"/>
          </p:nvPr>
        </p:nvSpPr>
        <p:spPr/>
        <p:txBody>
          <a:bodyPr/>
          <a:lstStyle/>
          <a:p>
            <a:r>
              <a:rPr lang="de-DE" dirty="0"/>
              <a:t>Angebot #1 – Unsere Beratung</a:t>
            </a:r>
          </a:p>
        </p:txBody>
      </p:sp>
      <p:sp>
        <p:nvSpPr>
          <p:cNvPr id="6" name="Inhaltsplatzhalter 5">
            <a:extLst>
              <a:ext uri="{FF2B5EF4-FFF2-40B4-BE49-F238E27FC236}">
                <a16:creationId xmlns:a16="http://schemas.microsoft.com/office/drawing/2014/main" id="{A88764F5-0D2E-BBB7-2ADD-07BAC166D637}"/>
              </a:ext>
            </a:extLst>
          </p:cNvPr>
          <p:cNvSpPr>
            <a:spLocks noGrp="1"/>
          </p:cNvSpPr>
          <p:nvPr>
            <p:ph sz="quarter" idx="14"/>
          </p:nvPr>
        </p:nvSpPr>
        <p:spPr/>
        <p:txBody>
          <a:bodyPr/>
          <a:lstStyle/>
          <a:p>
            <a:endParaRPr lang="de-DE"/>
          </a:p>
        </p:txBody>
      </p:sp>
    </p:spTree>
    <p:extLst>
      <p:ext uri="{BB962C8B-B14F-4D97-AF65-F5344CB8AC3E}">
        <p14:creationId xmlns:p14="http://schemas.microsoft.com/office/powerpoint/2010/main" val="4102511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FCB3A3A8-AB3C-C684-1D28-BD72766870F0}"/>
              </a:ext>
            </a:extLst>
          </p:cNvPr>
          <p:cNvSpPr/>
          <p:nvPr/>
        </p:nvSpPr>
        <p:spPr>
          <a:xfrm>
            <a:off x="0" y="6430146"/>
            <a:ext cx="1959731" cy="427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Rechteck 4">
            <a:extLst>
              <a:ext uri="{FF2B5EF4-FFF2-40B4-BE49-F238E27FC236}">
                <a16:creationId xmlns:a16="http://schemas.microsoft.com/office/drawing/2014/main" id="{50AAAE78-F515-F429-74B4-5993589C9293}"/>
              </a:ext>
            </a:extLst>
          </p:cNvPr>
          <p:cNvSpPr/>
          <p:nvPr/>
        </p:nvSpPr>
        <p:spPr>
          <a:xfrm>
            <a:off x="-132522" y="-212035"/>
            <a:ext cx="12457043" cy="7195931"/>
          </a:xfrm>
          <a:prstGeom prst="rect">
            <a:avLst/>
          </a:prstGeom>
          <a:gradFill>
            <a:gsLst>
              <a:gs pos="0">
                <a:srgbClr val="0B1A25"/>
              </a:gs>
              <a:gs pos="100000">
                <a:srgbClr val="003F6F"/>
              </a:gs>
              <a:gs pos="70000">
                <a:srgbClr val="093150"/>
              </a:gs>
              <a:gs pos="100000">
                <a:srgbClr val="003F6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platzhalter 2">
            <a:extLst>
              <a:ext uri="{FF2B5EF4-FFF2-40B4-BE49-F238E27FC236}">
                <a16:creationId xmlns:a16="http://schemas.microsoft.com/office/drawing/2014/main" id="{0FACEA54-EE9A-11CB-9577-3A743BBE1297}"/>
              </a:ext>
            </a:extLst>
          </p:cNvPr>
          <p:cNvSpPr txBox="1">
            <a:spLocks/>
          </p:cNvSpPr>
          <p:nvPr/>
        </p:nvSpPr>
        <p:spPr>
          <a:xfrm>
            <a:off x="823411" y="4066983"/>
            <a:ext cx="3059034" cy="2641599"/>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2000" b="1">
                <a:solidFill>
                  <a:schemeClr val="bg1"/>
                </a:solidFill>
                <a:latin typeface="Space Grotesk" pitchFamily="2" charset="77"/>
                <a:ea typeface="Inter" panose="02000503000000020004" pitchFamily="2" charset="0"/>
                <a:cs typeface="Space Grotesk" pitchFamily="2" charset="77"/>
              </a:rPr>
              <a:t>Quick Start</a:t>
            </a:r>
            <a:br>
              <a:rPr lang="de-DE" sz="2000" b="1">
                <a:solidFill>
                  <a:schemeClr val="bg1"/>
                </a:solidFill>
                <a:latin typeface="Space Grotesk" pitchFamily="2" charset="77"/>
                <a:ea typeface="Inter" panose="02000503000000020004" pitchFamily="2" charset="0"/>
                <a:cs typeface="Space Grotesk" pitchFamily="2" charset="77"/>
              </a:rPr>
            </a:br>
            <a:br>
              <a:rPr lang="de-DE" sz="2000" b="1">
                <a:solidFill>
                  <a:schemeClr val="bg1"/>
                </a:solidFill>
                <a:latin typeface="Space Grotesk" pitchFamily="2" charset="77"/>
                <a:ea typeface="Inter" panose="02000503000000020004" pitchFamily="2" charset="0"/>
                <a:cs typeface="Space Grotesk" pitchFamily="2" charset="77"/>
              </a:rPr>
            </a:br>
            <a:r>
              <a:rPr lang="de-DE" sz="1600">
                <a:solidFill>
                  <a:schemeClr val="bg1"/>
                </a:solidFill>
                <a:latin typeface="Inter" panose="02000503000000020004" pitchFamily="2" charset="0"/>
                <a:ea typeface="Inter" panose="02000503000000020004" pitchFamily="2" charset="0"/>
                <a:cs typeface="+mn-lt"/>
              </a:rPr>
              <a:t>Ein erster Überblick zu Open Data und zu Möglichkeiten, mitzumachen. </a:t>
            </a:r>
            <a:endParaRPr lang="de-DE" sz="2000">
              <a:solidFill>
                <a:schemeClr val="bg1"/>
              </a:solidFill>
              <a:latin typeface="Inter" panose="02000503000000020004" pitchFamily="2" charset="0"/>
              <a:ea typeface="Inter" panose="02000503000000020004" pitchFamily="2" charset="0"/>
              <a:cs typeface="+mn-lt"/>
            </a:endParaRPr>
          </a:p>
        </p:txBody>
      </p:sp>
      <p:pic>
        <p:nvPicPr>
          <p:cNvPr id="11" name="Grafik 10">
            <a:extLst>
              <a:ext uri="{FF2B5EF4-FFF2-40B4-BE49-F238E27FC236}">
                <a16:creationId xmlns:a16="http://schemas.microsoft.com/office/drawing/2014/main" id="{7C2E1E51-A391-24BB-8753-57F7CEACF8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59731" y="2997370"/>
            <a:ext cx="664234" cy="664234"/>
          </a:xfrm>
          <a:prstGeom prst="rect">
            <a:avLst/>
          </a:prstGeom>
        </p:spPr>
      </p:pic>
      <p:sp>
        <p:nvSpPr>
          <p:cNvPr id="10" name="Textplatzhalter 2">
            <a:extLst>
              <a:ext uri="{FF2B5EF4-FFF2-40B4-BE49-F238E27FC236}">
                <a16:creationId xmlns:a16="http://schemas.microsoft.com/office/drawing/2014/main" id="{487BB516-14C8-1E3C-3ED2-5143C6DF2C62}"/>
              </a:ext>
            </a:extLst>
          </p:cNvPr>
          <p:cNvSpPr txBox="1">
            <a:spLocks/>
          </p:cNvSpPr>
          <p:nvPr/>
        </p:nvSpPr>
        <p:spPr>
          <a:xfrm>
            <a:off x="8339506" y="4066983"/>
            <a:ext cx="3059034" cy="2641599"/>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2000" b="1">
                <a:solidFill>
                  <a:schemeClr val="bg1"/>
                </a:solidFill>
                <a:latin typeface="Space Grotesk" pitchFamily="2" charset="77"/>
                <a:ea typeface="Inter" panose="02000503000000020004" pitchFamily="2" charset="0"/>
                <a:cs typeface="Space Grotesk" pitchFamily="2" charset="77"/>
              </a:rPr>
              <a:t>Bereitstellung &amp; Qualität</a:t>
            </a:r>
            <a:br>
              <a:rPr lang="de-DE" sz="2000" b="1">
                <a:solidFill>
                  <a:schemeClr val="bg1"/>
                </a:solidFill>
                <a:latin typeface="Space Grotesk" pitchFamily="2" charset="77"/>
                <a:ea typeface="Inter" panose="02000503000000020004" pitchFamily="2" charset="0"/>
                <a:cs typeface="Space Grotesk" pitchFamily="2" charset="77"/>
              </a:rPr>
            </a:br>
            <a:br>
              <a:rPr lang="de-DE" sz="2000" b="1">
                <a:solidFill>
                  <a:schemeClr val="bg1"/>
                </a:solidFill>
                <a:latin typeface="Space Grotesk" pitchFamily="2" charset="77"/>
                <a:ea typeface="Inter" panose="02000503000000020004" pitchFamily="2" charset="0"/>
                <a:cs typeface="Space Grotesk" pitchFamily="2" charset="77"/>
              </a:rPr>
            </a:br>
            <a:r>
              <a:rPr lang="de-DE" sz="1600" b="0" i="0">
                <a:solidFill>
                  <a:schemeClr val="bg1"/>
                </a:solidFill>
                <a:effectLst/>
                <a:latin typeface="Inter" panose="02000503000000020004" pitchFamily="2" charset="0"/>
                <a:ea typeface="Inter" panose="02000503000000020004" pitchFamily="2" charset="0"/>
              </a:rPr>
              <a:t>Einblick in die Möglichkeiten, gute Daten automatisiert oder manuell zu veröffentlichen.</a:t>
            </a:r>
            <a:endParaRPr lang="de-DE" sz="1600">
              <a:solidFill>
                <a:schemeClr val="bg1"/>
              </a:solidFill>
              <a:latin typeface="Inter" panose="02000503000000020004" pitchFamily="2" charset="0"/>
              <a:ea typeface="Inter" panose="02000503000000020004" pitchFamily="2" charset="0"/>
            </a:endParaRPr>
          </a:p>
        </p:txBody>
      </p:sp>
      <p:sp>
        <p:nvSpPr>
          <p:cNvPr id="9" name="Textplatzhalter 2">
            <a:extLst>
              <a:ext uri="{FF2B5EF4-FFF2-40B4-BE49-F238E27FC236}">
                <a16:creationId xmlns:a16="http://schemas.microsoft.com/office/drawing/2014/main" id="{AFF56F8E-8912-213A-4D37-CC3316BB9FE4}"/>
              </a:ext>
            </a:extLst>
          </p:cNvPr>
          <p:cNvSpPr txBox="1">
            <a:spLocks/>
          </p:cNvSpPr>
          <p:nvPr/>
        </p:nvSpPr>
        <p:spPr>
          <a:xfrm>
            <a:off x="4566483" y="4066983"/>
            <a:ext cx="3059034" cy="2641599"/>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2000" b="1">
                <a:solidFill>
                  <a:schemeClr val="bg1"/>
                </a:solidFill>
                <a:latin typeface="Space Grotesk" pitchFamily="2" charset="77"/>
                <a:ea typeface="Inter" panose="02000503000000020004" pitchFamily="2" charset="0"/>
                <a:cs typeface="Space Grotesk" pitchFamily="2" charset="77"/>
              </a:rPr>
              <a:t>Lizenzen &amp; Daten</a:t>
            </a:r>
            <a:br>
              <a:rPr lang="de-DE" sz="2000" b="1">
                <a:solidFill>
                  <a:schemeClr val="bg1"/>
                </a:solidFill>
                <a:latin typeface="Space Grotesk" pitchFamily="2" charset="77"/>
                <a:ea typeface="Inter" panose="02000503000000020004" pitchFamily="2" charset="0"/>
                <a:cs typeface="Space Grotesk" pitchFamily="2" charset="77"/>
              </a:rPr>
            </a:br>
            <a:br>
              <a:rPr lang="de-DE" sz="2000" b="1">
                <a:solidFill>
                  <a:schemeClr val="bg1"/>
                </a:solidFill>
                <a:latin typeface="Space Grotesk" pitchFamily="2" charset="77"/>
                <a:ea typeface="Inter" panose="02000503000000020004" pitchFamily="2" charset="0"/>
                <a:cs typeface="Space Grotesk" pitchFamily="2" charset="77"/>
              </a:rPr>
            </a:br>
            <a:r>
              <a:rPr lang="de-DE" sz="1600">
                <a:solidFill>
                  <a:schemeClr val="bg1"/>
                </a:solidFill>
                <a:latin typeface="Inter" panose="02000503000000020004" pitchFamily="2" charset="0"/>
                <a:ea typeface="Inter" panose="02000503000000020004" pitchFamily="2" charset="0"/>
                <a:cs typeface="Noto Sans"/>
              </a:rPr>
              <a:t>Beratung zur Festlegung einer Lizenz, um die eigenen Daten sicher nachnutzbar zu machen.</a:t>
            </a:r>
            <a:endParaRPr lang="de-DE" sz="1600">
              <a:solidFill>
                <a:schemeClr val="bg1"/>
              </a:solidFill>
              <a:latin typeface="Inter" panose="02000503000000020004" pitchFamily="2" charset="0"/>
              <a:ea typeface="Inter" panose="02000503000000020004" pitchFamily="2" charset="0"/>
              <a:cs typeface="+mn-lt"/>
            </a:endParaRPr>
          </a:p>
        </p:txBody>
      </p:sp>
      <p:pic>
        <p:nvPicPr>
          <p:cNvPr id="8" name="Grafik 9" descr="Ein Bild, das Schrift, Grafiken, Screenshot, Logo enthält.&#10;&#10;Beschreibung automatisch generiert.">
            <a:extLst>
              <a:ext uri="{FF2B5EF4-FFF2-40B4-BE49-F238E27FC236}">
                <a16:creationId xmlns:a16="http://schemas.microsoft.com/office/drawing/2014/main" id="{4E628A00-78E7-3790-3E74-B6100354DF1B}"/>
              </a:ext>
            </a:extLst>
          </p:cNvPr>
          <p:cNvPicPr>
            <a:picLocks noChangeAspect="1"/>
          </p:cNvPicPr>
          <p:nvPr/>
        </p:nvPicPr>
        <p:blipFill>
          <a:blip r:embed="rId5"/>
          <a:stretch>
            <a:fillRect/>
          </a:stretch>
        </p:blipFill>
        <p:spPr>
          <a:xfrm>
            <a:off x="10076986" y="543364"/>
            <a:ext cx="1533732" cy="568800"/>
          </a:xfrm>
          <a:prstGeom prst="rect">
            <a:avLst/>
          </a:prstGeom>
        </p:spPr>
      </p:pic>
      <p:sp>
        <p:nvSpPr>
          <p:cNvPr id="3" name="Textfeld 2">
            <a:extLst>
              <a:ext uri="{FF2B5EF4-FFF2-40B4-BE49-F238E27FC236}">
                <a16:creationId xmlns:a16="http://schemas.microsoft.com/office/drawing/2014/main" id="{F3CDF1E2-4FAB-7D6C-6483-2DADB0CAE7A8}"/>
              </a:ext>
            </a:extLst>
          </p:cNvPr>
          <p:cNvSpPr txBox="1"/>
          <p:nvPr/>
        </p:nvSpPr>
        <p:spPr>
          <a:xfrm>
            <a:off x="3450252" y="2069400"/>
            <a:ext cx="5291513" cy="276999"/>
          </a:xfrm>
          <a:prstGeom prst="rect">
            <a:avLst/>
          </a:prstGeom>
          <a:noFill/>
        </p:spPr>
        <p:txBody>
          <a:bodyPr wrap="none" lIns="0" tIns="0" rIns="0" bIns="0" rtlCol="0">
            <a:spAutoFit/>
          </a:bodyPr>
          <a:lstStyle/>
          <a:p>
            <a:pPr algn="ctr"/>
            <a:r>
              <a:rPr lang="de-DE">
                <a:solidFill>
                  <a:schemeClr val="bg1"/>
                </a:solidFill>
                <a:latin typeface="Inter" panose="02000503000000020004" pitchFamily="2" charset="0"/>
                <a:ea typeface="Inter" panose="02000503000000020004" pitchFamily="2" charset="0"/>
              </a:rPr>
              <a:t>Unser Beratungsangebot – auch gern individuell.</a:t>
            </a:r>
            <a:endParaRPr lang="de-DE" b="1">
              <a:solidFill>
                <a:schemeClr val="bg1"/>
              </a:solidFill>
              <a:latin typeface="Space Grotesk" pitchFamily="2" charset="77"/>
              <a:cs typeface="Space Grotesk" pitchFamily="2" charset="77"/>
            </a:endParaRPr>
          </a:p>
        </p:txBody>
      </p:sp>
      <p:pic>
        <p:nvPicPr>
          <p:cNvPr id="4" name="Grafik 3">
            <a:extLst>
              <a:ext uri="{FF2B5EF4-FFF2-40B4-BE49-F238E27FC236}">
                <a16:creationId xmlns:a16="http://schemas.microsoft.com/office/drawing/2014/main" id="{92567539-9639-1317-7D9C-D5DAE94D74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63883" y="2997370"/>
            <a:ext cx="664234" cy="664234"/>
          </a:xfrm>
          <a:prstGeom prst="rect">
            <a:avLst/>
          </a:prstGeom>
        </p:spPr>
      </p:pic>
      <p:pic>
        <p:nvPicPr>
          <p:cNvPr id="7" name="Grafik 6">
            <a:extLst>
              <a:ext uri="{FF2B5EF4-FFF2-40B4-BE49-F238E27FC236}">
                <a16:creationId xmlns:a16="http://schemas.microsoft.com/office/drawing/2014/main" id="{0CCC7938-408A-FBA9-59A3-8573A8A5BD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68644" y="2997370"/>
            <a:ext cx="664234" cy="664234"/>
          </a:xfrm>
          <a:prstGeom prst="rect">
            <a:avLst/>
          </a:prstGeom>
        </p:spPr>
      </p:pic>
    </p:spTree>
    <p:extLst>
      <p:ext uri="{BB962C8B-B14F-4D97-AF65-F5344CB8AC3E}">
        <p14:creationId xmlns:p14="http://schemas.microsoft.com/office/powerpoint/2010/main" val="1484527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96D1DE2-73B7-C650-1233-6CA48CBD0649}"/>
              </a:ext>
            </a:extLst>
          </p:cNvPr>
          <p:cNvSpPr>
            <a:spLocks noGrp="1"/>
          </p:cNvSpPr>
          <p:nvPr>
            <p:ph type="dt" sz="half" idx="10"/>
          </p:nvPr>
        </p:nvSpPr>
        <p:spPr/>
        <p:txBody>
          <a:bodyPr/>
          <a:lstStyle/>
          <a:p>
            <a:r>
              <a:rPr lang="de-DE"/>
              <a:t>| </a:t>
            </a:r>
            <a:fld id="{47EF7EB3-6D1D-4B0B-B3F8-F3B2751CB2E6}" type="datetime1">
              <a:rPr lang="de-DE" smtClean="0">
                <a:latin typeface="+mn-lt"/>
              </a:rPr>
              <a:t>18.01.24</a:t>
            </a:fld>
            <a:endParaRPr lang="de-DE">
              <a:latin typeface="+mn-lt"/>
            </a:endParaRPr>
          </a:p>
        </p:txBody>
      </p:sp>
      <p:sp>
        <p:nvSpPr>
          <p:cNvPr id="3" name="Foliennummernplatzhalter 2">
            <a:extLst>
              <a:ext uri="{FF2B5EF4-FFF2-40B4-BE49-F238E27FC236}">
                <a16:creationId xmlns:a16="http://schemas.microsoft.com/office/drawing/2014/main" id="{9120BB18-63CB-497D-72D2-E45838AE6B80}"/>
              </a:ext>
            </a:extLst>
          </p:cNvPr>
          <p:cNvSpPr>
            <a:spLocks noGrp="1"/>
          </p:cNvSpPr>
          <p:nvPr>
            <p:ph type="sldNum" sz="quarter" idx="11"/>
          </p:nvPr>
        </p:nvSpPr>
        <p:spPr/>
        <p:txBody>
          <a:bodyPr/>
          <a:lstStyle/>
          <a:p>
            <a:r>
              <a:rPr lang="de-DE"/>
              <a:t>Seite </a:t>
            </a:r>
            <a:fld id="{F3829FEA-ED73-4A5A-98B4-E51078EAB7AC}" type="slidenum">
              <a:rPr lang="de-DE" smtClean="0">
                <a:latin typeface="+mj-lt"/>
              </a:rPr>
              <a:pPr/>
              <a:t>6</a:t>
            </a:fld>
            <a:endParaRPr lang="de-DE">
              <a:latin typeface="+mj-lt"/>
            </a:endParaRPr>
          </a:p>
        </p:txBody>
      </p:sp>
      <p:sp>
        <p:nvSpPr>
          <p:cNvPr id="4" name="Textplatzhalter 3">
            <a:extLst>
              <a:ext uri="{FF2B5EF4-FFF2-40B4-BE49-F238E27FC236}">
                <a16:creationId xmlns:a16="http://schemas.microsoft.com/office/drawing/2014/main" id="{238C3D29-A1DB-3BE0-C088-2F4CAC92AA4D}"/>
              </a:ext>
            </a:extLst>
          </p:cNvPr>
          <p:cNvSpPr>
            <a:spLocks noGrp="1"/>
          </p:cNvSpPr>
          <p:nvPr>
            <p:ph type="body" sz="quarter" idx="13"/>
          </p:nvPr>
        </p:nvSpPr>
        <p:spPr/>
        <p:txBody>
          <a:bodyPr vert="horz" lIns="0" tIns="0" rIns="0" bIns="0" rtlCol="0" anchor="t">
            <a:normAutofit/>
          </a:bodyPr>
          <a:lstStyle/>
          <a:p>
            <a:r>
              <a:rPr lang="de-DE" b="1" dirty="0">
                <a:solidFill>
                  <a:srgbClr val="303030"/>
                </a:solidFill>
              </a:rPr>
              <a:t>Unsere Handreichung enthält:</a:t>
            </a:r>
          </a:p>
          <a:p>
            <a:endParaRPr lang="de-DE" b="1" dirty="0">
              <a:solidFill>
                <a:srgbClr val="303030"/>
              </a:solidFill>
            </a:endParaRPr>
          </a:p>
          <a:p>
            <a:pPr marL="285750" indent="-285750">
              <a:buFont typeface="Arial" panose="020B0604020202020204" pitchFamily="34" charset="0"/>
              <a:buChar char="•"/>
            </a:pPr>
            <a:r>
              <a:rPr lang="de-DE" b="1" dirty="0">
                <a:solidFill>
                  <a:srgbClr val="303030"/>
                </a:solidFill>
              </a:rPr>
              <a:t>Bedeutung &amp; Hintergrund zur DVO-HVD</a:t>
            </a:r>
          </a:p>
          <a:p>
            <a:pPr marL="285750" indent="-285750">
              <a:buFont typeface="Arial" panose="020B0604020202020204" pitchFamily="34" charset="0"/>
              <a:buChar char="•"/>
            </a:pPr>
            <a:r>
              <a:rPr lang="de-DE" b="1" dirty="0">
                <a:solidFill>
                  <a:srgbClr val="303030"/>
                </a:solidFill>
              </a:rPr>
              <a:t>Schritte, um eigene HVD-Datensätze zu prüfen</a:t>
            </a:r>
          </a:p>
          <a:p>
            <a:pPr marL="285750" indent="-285750">
              <a:buFont typeface="Arial" panose="020B0604020202020204" pitchFamily="34" charset="0"/>
              <a:buChar char="•"/>
            </a:pPr>
            <a:r>
              <a:rPr lang="de-DE" b="1" dirty="0">
                <a:solidFill>
                  <a:srgbClr val="303030"/>
                </a:solidFill>
              </a:rPr>
              <a:t>Tabelle mit Überblick zu HVD in Bayern</a:t>
            </a:r>
          </a:p>
          <a:p>
            <a:pPr marL="285750" indent="-285750">
              <a:buFont typeface="Arial" panose="020B0604020202020204" pitchFamily="34" charset="0"/>
              <a:buChar char="•"/>
            </a:pPr>
            <a:r>
              <a:rPr lang="de-DE" b="1" dirty="0">
                <a:solidFill>
                  <a:srgbClr val="303030"/>
                </a:solidFill>
              </a:rPr>
              <a:t>Unterstützungsangebote zur Veröffentlichung</a:t>
            </a:r>
            <a:endParaRPr lang="de-DE" b="1" dirty="0"/>
          </a:p>
        </p:txBody>
      </p:sp>
      <p:sp>
        <p:nvSpPr>
          <p:cNvPr id="5" name="Titel 4">
            <a:extLst>
              <a:ext uri="{FF2B5EF4-FFF2-40B4-BE49-F238E27FC236}">
                <a16:creationId xmlns:a16="http://schemas.microsoft.com/office/drawing/2014/main" id="{079C4434-0496-53DB-0A7D-89E502F81B8E}"/>
              </a:ext>
            </a:extLst>
          </p:cNvPr>
          <p:cNvSpPr>
            <a:spLocks noGrp="1"/>
          </p:cNvSpPr>
          <p:nvPr>
            <p:ph type="title"/>
          </p:nvPr>
        </p:nvSpPr>
        <p:spPr/>
        <p:txBody>
          <a:bodyPr/>
          <a:lstStyle/>
          <a:p>
            <a:r>
              <a:rPr lang="de-DE" dirty="0"/>
              <a:t>Angebot #2 – Unsere Handreichung</a:t>
            </a:r>
          </a:p>
        </p:txBody>
      </p:sp>
      <p:sp>
        <p:nvSpPr>
          <p:cNvPr id="6" name="Inhaltsplatzhalter 5">
            <a:extLst>
              <a:ext uri="{FF2B5EF4-FFF2-40B4-BE49-F238E27FC236}">
                <a16:creationId xmlns:a16="http://schemas.microsoft.com/office/drawing/2014/main" id="{A88764F5-0D2E-BBB7-2ADD-07BAC166D637}"/>
              </a:ext>
            </a:extLst>
          </p:cNvPr>
          <p:cNvSpPr>
            <a:spLocks noGrp="1"/>
          </p:cNvSpPr>
          <p:nvPr>
            <p:ph sz="quarter" idx="14"/>
          </p:nvPr>
        </p:nvSpPr>
        <p:spPr/>
        <p:txBody>
          <a:bodyPr/>
          <a:lstStyle/>
          <a:p>
            <a:endParaRPr lang="de-DE"/>
          </a:p>
        </p:txBody>
      </p:sp>
    </p:spTree>
    <p:extLst>
      <p:ext uri="{BB962C8B-B14F-4D97-AF65-F5344CB8AC3E}">
        <p14:creationId xmlns:p14="http://schemas.microsoft.com/office/powerpoint/2010/main" val="517605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464A0814-04C1-F7C6-7A12-6D0D11D257F7}"/>
              </a:ext>
            </a:extLst>
          </p:cNvPr>
          <p:cNvSpPr/>
          <p:nvPr/>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Datumsplatzhalter 6">
            <a:extLst>
              <a:ext uri="{FF2B5EF4-FFF2-40B4-BE49-F238E27FC236}">
                <a16:creationId xmlns:a16="http://schemas.microsoft.com/office/drawing/2014/main" id="{4B186A34-51ED-7E1F-26FA-201E053FDCC1}"/>
              </a:ext>
            </a:extLst>
          </p:cNvPr>
          <p:cNvSpPr>
            <a:spLocks noGrp="1"/>
          </p:cNvSpPr>
          <p:nvPr>
            <p:ph type="dt" sz="half" idx="10"/>
          </p:nvPr>
        </p:nvSpPr>
        <p:spPr/>
        <p:txBody>
          <a:bodyPr/>
          <a:lstStyle/>
          <a:p>
            <a:r>
              <a:rPr lang="de-DE"/>
              <a:t> </a:t>
            </a:r>
          </a:p>
        </p:txBody>
      </p:sp>
      <p:sp>
        <p:nvSpPr>
          <p:cNvPr id="5" name="Foliennummernplatzhalter 4">
            <a:extLst>
              <a:ext uri="{FF2B5EF4-FFF2-40B4-BE49-F238E27FC236}">
                <a16:creationId xmlns:a16="http://schemas.microsoft.com/office/drawing/2014/main" id="{42354F0D-6F06-5FBE-D41C-5942C699A7B4}"/>
              </a:ext>
            </a:extLst>
          </p:cNvPr>
          <p:cNvSpPr>
            <a:spLocks noGrp="1"/>
          </p:cNvSpPr>
          <p:nvPr>
            <p:ph type="sldNum" sz="quarter" idx="11"/>
          </p:nvPr>
        </p:nvSpPr>
        <p:spPr/>
        <p:txBody>
          <a:bodyPr/>
          <a:lstStyle/>
          <a:p>
            <a:fld id="{F3829FEA-ED73-4A5A-98B4-E51078EAB7AC}" type="slidenum">
              <a:rPr lang="de-DE" smtClean="0">
                <a:latin typeface="+mj-lt"/>
              </a:rPr>
              <a:pPr/>
              <a:t>7</a:t>
            </a:fld>
            <a:endParaRPr lang="de-DE">
              <a:latin typeface="+mj-lt"/>
            </a:endParaRPr>
          </a:p>
        </p:txBody>
      </p:sp>
      <p:sp>
        <p:nvSpPr>
          <p:cNvPr id="6" name="Textplatzhalter 2">
            <a:extLst>
              <a:ext uri="{FF2B5EF4-FFF2-40B4-BE49-F238E27FC236}">
                <a16:creationId xmlns:a16="http://schemas.microsoft.com/office/drawing/2014/main" id="{328C20EF-7629-DE09-430D-96F372966E2C}"/>
              </a:ext>
            </a:extLst>
          </p:cNvPr>
          <p:cNvSpPr txBox="1">
            <a:spLocks/>
          </p:cNvSpPr>
          <p:nvPr/>
        </p:nvSpPr>
        <p:spPr>
          <a:xfrm>
            <a:off x="566844" y="2268305"/>
            <a:ext cx="6784974" cy="615553"/>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Font typeface="Untitled Sans Light" panose="020B0303030202060203" pitchFamily="34" charset="0"/>
              <a:buNone/>
              <a:defRPr sz="4000" kern="1200">
                <a:solidFill>
                  <a:schemeClr val="bg1"/>
                </a:solidFill>
                <a:latin typeface="+mn-lt"/>
                <a:ea typeface="+mn-ea"/>
                <a:cs typeface="+mn-cs"/>
              </a:defRPr>
            </a:lvl1pPr>
            <a:lvl2pPr marL="179388" indent="0" algn="l" defTabSz="914400" rtl="0" eaLnBrk="1" latinLnBrk="0" hangingPunct="1">
              <a:lnSpc>
                <a:spcPct val="120000"/>
              </a:lnSpc>
              <a:spcBef>
                <a:spcPts val="0"/>
              </a:spcBef>
              <a:buFont typeface="Untitled Sans Light" panose="020B0303030202060203" pitchFamily="34" charset="0"/>
              <a:buNone/>
              <a:defRPr sz="4000" kern="1200">
                <a:solidFill>
                  <a:schemeClr val="bg1"/>
                </a:solidFill>
                <a:latin typeface="+mn-lt"/>
                <a:ea typeface="+mn-ea"/>
                <a:cs typeface="+mn-cs"/>
              </a:defRPr>
            </a:lvl2pPr>
            <a:lvl3pPr marL="360363" indent="0" algn="l" defTabSz="914400" rtl="0" eaLnBrk="1" latinLnBrk="0" hangingPunct="1">
              <a:lnSpc>
                <a:spcPct val="120000"/>
              </a:lnSpc>
              <a:spcBef>
                <a:spcPts val="0"/>
              </a:spcBef>
              <a:buSzPct val="90000"/>
              <a:buFont typeface="Wingdings" panose="05000000000000000000" pitchFamily="2" charset="2"/>
              <a:buNone/>
              <a:defRPr sz="4000" kern="1200">
                <a:solidFill>
                  <a:schemeClr val="bg1"/>
                </a:solidFill>
                <a:latin typeface="+mn-lt"/>
                <a:ea typeface="+mn-ea"/>
                <a:cs typeface="+mn-cs"/>
              </a:defRPr>
            </a:lvl3pPr>
            <a:lvl4pPr marL="1371600" indent="0" algn="l" defTabSz="914400" rtl="0" eaLnBrk="1" latinLnBrk="0" hangingPunct="1">
              <a:lnSpc>
                <a:spcPct val="120000"/>
              </a:lnSpc>
              <a:spcBef>
                <a:spcPts val="0"/>
              </a:spcBef>
              <a:buFont typeface="Arial" panose="020B0604020202020204" pitchFamily="34" charset="0"/>
              <a:buNone/>
              <a:defRPr sz="4000" kern="1200">
                <a:solidFill>
                  <a:schemeClr val="bg1"/>
                </a:solidFill>
                <a:latin typeface="Untitled Sans Light" panose="020B0303030202060203" pitchFamily="34" charset="0"/>
                <a:ea typeface="+mn-ea"/>
                <a:cs typeface="+mn-cs"/>
              </a:defRPr>
            </a:lvl4pPr>
            <a:lvl5pPr marL="1828800" indent="0" algn="l" defTabSz="914400" rtl="0" eaLnBrk="1" latinLnBrk="0" hangingPunct="1">
              <a:lnSpc>
                <a:spcPct val="120000"/>
              </a:lnSpc>
              <a:spcBef>
                <a:spcPts val="0"/>
              </a:spcBef>
              <a:buFont typeface="Arial" panose="020B0604020202020204" pitchFamily="34" charset="0"/>
              <a:buNone/>
              <a:defRPr sz="4000" kern="1200">
                <a:solidFill>
                  <a:schemeClr val="bg1"/>
                </a:solidFill>
                <a:latin typeface="Untitled Sans Light" panose="020B03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latin typeface="+mj-lt"/>
              </a:rPr>
              <a:t>Plattformen.</a:t>
            </a:r>
          </a:p>
        </p:txBody>
      </p:sp>
      <p:sp>
        <p:nvSpPr>
          <p:cNvPr id="9" name="Rechteck 8">
            <a:extLst>
              <a:ext uri="{FF2B5EF4-FFF2-40B4-BE49-F238E27FC236}">
                <a16:creationId xmlns:a16="http://schemas.microsoft.com/office/drawing/2014/main" id="{9FAE3820-3CFD-FCA2-76A9-DB73385E17EB}"/>
              </a:ext>
            </a:extLst>
          </p:cNvPr>
          <p:cNvSpPr/>
          <p:nvPr/>
        </p:nvSpPr>
        <p:spPr>
          <a:xfrm>
            <a:off x="-128588" y="-694009"/>
            <a:ext cx="12585631" cy="7633403"/>
          </a:xfrm>
          <a:prstGeom prst="rect">
            <a:avLst/>
          </a:prstGeom>
          <a:gradFill>
            <a:gsLst>
              <a:gs pos="0">
                <a:srgbClr val="0B1A25"/>
              </a:gs>
              <a:gs pos="100000">
                <a:srgbClr val="003F6F"/>
              </a:gs>
              <a:gs pos="70000">
                <a:srgbClr val="093150"/>
              </a:gs>
              <a:gs pos="100000">
                <a:srgbClr val="003F6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9" descr="Ein Bild, das Schrift, Grafiken, Screenshot, Logo enthält.&#10;&#10;Beschreibung automatisch generiert.">
            <a:extLst>
              <a:ext uri="{FF2B5EF4-FFF2-40B4-BE49-F238E27FC236}">
                <a16:creationId xmlns:a16="http://schemas.microsoft.com/office/drawing/2014/main" id="{3D79F802-4993-293E-C1FF-6E8F47E6F1EB}"/>
              </a:ext>
            </a:extLst>
          </p:cNvPr>
          <p:cNvPicPr>
            <a:picLocks noChangeAspect="1"/>
          </p:cNvPicPr>
          <p:nvPr/>
        </p:nvPicPr>
        <p:blipFill>
          <a:blip r:embed="rId3"/>
          <a:stretch>
            <a:fillRect/>
          </a:stretch>
        </p:blipFill>
        <p:spPr>
          <a:xfrm>
            <a:off x="10076986" y="543364"/>
            <a:ext cx="1533732" cy="568800"/>
          </a:xfrm>
          <a:prstGeom prst="rect">
            <a:avLst/>
          </a:prstGeom>
        </p:spPr>
      </p:pic>
      <p:sp>
        <p:nvSpPr>
          <p:cNvPr id="11" name="Textfeld 10">
            <a:extLst>
              <a:ext uri="{FF2B5EF4-FFF2-40B4-BE49-F238E27FC236}">
                <a16:creationId xmlns:a16="http://schemas.microsoft.com/office/drawing/2014/main" id="{454F37E0-7D81-9F76-D449-9AB337BEE84F}"/>
              </a:ext>
            </a:extLst>
          </p:cNvPr>
          <p:cNvSpPr txBox="1"/>
          <p:nvPr/>
        </p:nvSpPr>
        <p:spPr>
          <a:xfrm>
            <a:off x="-665757" y="3200400"/>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a:p>
        </p:txBody>
      </p:sp>
      <p:sp>
        <p:nvSpPr>
          <p:cNvPr id="12" name="Textfeld 11">
            <a:extLst>
              <a:ext uri="{FF2B5EF4-FFF2-40B4-BE49-F238E27FC236}">
                <a16:creationId xmlns:a16="http://schemas.microsoft.com/office/drawing/2014/main" id="{853BBBF6-BB82-CDEF-759C-44F6768C7B9B}"/>
              </a:ext>
            </a:extLst>
          </p:cNvPr>
          <p:cNvSpPr txBox="1"/>
          <p:nvPr/>
        </p:nvSpPr>
        <p:spPr>
          <a:xfrm>
            <a:off x="-665757" y="3200400"/>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a:p>
        </p:txBody>
      </p:sp>
      <p:sp>
        <p:nvSpPr>
          <p:cNvPr id="14" name="Textplatzhalter 2">
            <a:extLst>
              <a:ext uri="{FF2B5EF4-FFF2-40B4-BE49-F238E27FC236}">
                <a16:creationId xmlns:a16="http://schemas.microsoft.com/office/drawing/2014/main" id="{BD4B07F7-54B4-117C-A54B-157F76389CB3}"/>
              </a:ext>
            </a:extLst>
          </p:cNvPr>
          <p:cNvSpPr txBox="1">
            <a:spLocks/>
          </p:cNvSpPr>
          <p:nvPr/>
        </p:nvSpPr>
        <p:spPr>
          <a:xfrm>
            <a:off x="858644" y="2135156"/>
            <a:ext cx="5886252" cy="887473"/>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sz="600" b="1" dirty="0">
              <a:solidFill>
                <a:srgbClr val="0197D9"/>
              </a:solidFill>
              <a:latin typeface="+mn-lt"/>
              <a:ea typeface="Inter" panose="02000503000000020004" pitchFamily="2" charset="0"/>
            </a:endParaRPr>
          </a:p>
        </p:txBody>
      </p:sp>
      <p:pic>
        <p:nvPicPr>
          <p:cNvPr id="8" name="Grafik 7">
            <a:extLst>
              <a:ext uri="{FF2B5EF4-FFF2-40B4-BE49-F238E27FC236}">
                <a16:creationId xmlns:a16="http://schemas.microsoft.com/office/drawing/2014/main" id="{0ED67CA9-62B5-01F8-8444-D1B2E9B45D93}"/>
              </a:ext>
            </a:extLst>
          </p:cNvPr>
          <p:cNvPicPr>
            <a:picLocks noChangeAspect="1"/>
          </p:cNvPicPr>
          <p:nvPr/>
        </p:nvPicPr>
        <p:blipFill>
          <a:blip r:embed="rId4"/>
          <a:stretch>
            <a:fillRect/>
          </a:stretch>
        </p:blipFill>
        <p:spPr>
          <a:xfrm rot="219970">
            <a:off x="8462279" y="2219652"/>
            <a:ext cx="2781198" cy="3953187"/>
          </a:xfrm>
          <a:prstGeom prst="rect">
            <a:avLst/>
          </a:prstGeom>
        </p:spPr>
      </p:pic>
      <p:pic>
        <p:nvPicPr>
          <p:cNvPr id="4" name="Grafik 3">
            <a:extLst>
              <a:ext uri="{FF2B5EF4-FFF2-40B4-BE49-F238E27FC236}">
                <a16:creationId xmlns:a16="http://schemas.microsoft.com/office/drawing/2014/main" id="{EEAC48BA-37C4-A627-7C9E-F1FD093C01B3}"/>
              </a:ext>
            </a:extLst>
          </p:cNvPr>
          <p:cNvPicPr>
            <a:picLocks noChangeAspect="1"/>
          </p:cNvPicPr>
          <p:nvPr/>
        </p:nvPicPr>
        <p:blipFill>
          <a:blip r:embed="rId5"/>
          <a:stretch>
            <a:fillRect/>
          </a:stretch>
        </p:blipFill>
        <p:spPr>
          <a:xfrm rot="21266777">
            <a:off x="7060738" y="2140604"/>
            <a:ext cx="3068852" cy="3953187"/>
          </a:xfrm>
          <a:prstGeom prst="rect">
            <a:avLst/>
          </a:prstGeom>
        </p:spPr>
      </p:pic>
      <p:pic>
        <p:nvPicPr>
          <p:cNvPr id="66" name="Grafik 65">
            <a:extLst>
              <a:ext uri="{FF2B5EF4-FFF2-40B4-BE49-F238E27FC236}">
                <a16:creationId xmlns:a16="http://schemas.microsoft.com/office/drawing/2014/main" id="{734293CA-A851-E983-DA32-7082E4031101}"/>
              </a:ext>
            </a:extLst>
          </p:cNvPr>
          <p:cNvPicPr>
            <a:picLocks noChangeAspect="1"/>
          </p:cNvPicPr>
          <p:nvPr/>
        </p:nvPicPr>
        <p:blipFill rotWithShape="1">
          <a:blip r:embed="rId6"/>
          <a:srcRect r="41778"/>
          <a:stretch/>
        </p:blipFill>
        <p:spPr>
          <a:xfrm>
            <a:off x="8381" y="2150485"/>
            <a:ext cx="5355691" cy="3952766"/>
          </a:xfrm>
          <a:prstGeom prst="rect">
            <a:avLst/>
          </a:prstGeom>
        </p:spPr>
      </p:pic>
      <p:grpSp>
        <p:nvGrpSpPr>
          <p:cNvPr id="18" name="Google Shape;756;p49">
            <a:extLst>
              <a:ext uri="{FF2B5EF4-FFF2-40B4-BE49-F238E27FC236}">
                <a16:creationId xmlns:a16="http://schemas.microsoft.com/office/drawing/2014/main" id="{7E514891-F0C1-ABA7-0D9C-A53F90F406F1}"/>
              </a:ext>
            </a:extLst>
          </p:cNvPr>
          <p:cNvGrpSpPr/>
          <p:nvPr/>
        </p:nvGrpSpPr>
        <p:grpSpPr>
          <a:xfrm>
            <a:off x="-104980" y="1978842"/>
            <a:ext cx="5651518" cy="5176349"/>
            <a:chOff x="3422351" y="731674"/>
            <a:chExt cx="4831540" cy="3674895"/>
          </a:xfrm>
        </p:grpSpPr>
        <p:sp>
          <p:nvSpPr>
            <p:cNvPr id="19" name="Google Shape;757;p49">
              <a:extLst>
                <a:ext uri="{FF2B5EF4-FFF2-40B4-BE49-F238E27FC236}">
                  <a16:creationId xmlns:a16="http://schemas.microsoft.com/office/drawing/2014/main" id="{C3B384D2-3B28-3A06-3E8E-EEF792175A67}"/>
                </a:ext>
              </a:extLst>
            </p:cNvPr>
            <p:cNvSpPr/>
            <p:nvPr/>
          </p:nvSpPr>
          <p:spPr>
            <a:xfrm>
              <a:off x="5352325" y="4031650"/>
              <a:ext cx="958800" cy="255300"/>
            </a:xfrm>
            <a:prstGeom prst="rect">
              <a:avLst/>
            </a:pr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20" name="Google Shape;758;p49">
              <a:extLst>
                <a:ext uri="{FF2B5EF4-FFF2-40B4-BE49-F238E27FC236}">
                  <a16:creationId xmlns:a16="http://schemas.microsoft.com/office/drawing/2014/main" id="{E1C6CC4F-071A-A218-A704-245C6A16F1A0}"/>
                </a:ext>
              </a:extLst>
            </p:cNvPr>
            <p:cNvSpPr/>
            <p:nvPr/>
          </p:nvSpPr>
          <p:spPr>
            <a:xfrm flipH="1">
              <a:off x="6230475" y="3891500"/>
              <a:ext cx="399775" cy="489077"/>
            </a:xfrm>
            <a:custGeom>
              <a:avLst/>
              <a:gdLst/>
              <a:ahLst/>
              <a:cxnLst/>
              <a:rect l="l" t="t" r="r" b="b"/>
              <a:pathLst>
                <a:path w="15991" h="18395" extrusionOk="0">
                  <a:moveTo>
                    <a:pt x="1325" y="15800"/>
                  </a:moveTo>
                  <a:cubicBezTo>
                    <a:pt x="2082" y="15098"/>
                    <a:pt x="4341" y="13522"/>
                    <a:pt x="5354" y="12612"/>
                  </a:cubicBezTo>
                  <a:cubicBezTo>
                    <a:pt x="6368" y="11702"/>
                    <a:pt x="6856" y="11031"/>
                    <a:pt x="7406" y="10341"/>
                  </a:cubicBezTo>
                  <a:cubicBezTo>
                    <a:pt x="7956" y="9651"/>
                    <a:pt x="8176" y="9340"/>
                    <a:pt x="8652" y="8473"/>
                  </a:cubicBezTo>
                  <a:cubicBezTo>
                    <a:pt x="9128" y="7606"/>
                    <a:pt x="9849" y="6220"/>
                    <a:pt x="10264" y="5139"/>
                  </a:cubicBezTo>
                  <a:cubicBezTo>
                    <a:pt x="10679" y="4058"/>
                    <a:pt x="10948" y="2702"/>
                    <a:pt x="11143" y="1988"/>
                  </a:cubicBezTo>
                  <a:cubicBezTo>
                    <a:pt x="11338" y="1274"/>
                    <a:pt x="11241" y="1067"/>
                    <a:pt x="11436" y="853"/>
                  </a:cubicBezTo>
                  <a:cubicBezTo>
                    <a:pt x="11631" y="639"/>
                    <a:pt x="11558" y="-845"/>
                    <a:pt x="12315" y="706"/>
                  </a:cubicBezTo>
                  <a:cubicBezTo>
                    <a:pt x="13072" y="2257"/>
                    <a:pt x="16162" y="7838"/>
                    <a:pt x="15979" y="10158"/>
                  </a:cubicBezTo>
                  <a:cubicBezTo>
                    <a:pt x="15796" y="12478"/>
                    <a:pt x="13756" y="13577"/>
                    <a:pt x="11216" y="14627"/>
                  </a:cubicBezTo>
                  <a:cubicBezTo>
                    <a:pt x="8676" y="15677"/>
                    <a:pt x="2461" y="15836"/>
                    <a:pt x="739" y="16459"/>
                  </a:cubicBezTo>
                  <a:cubicBezTo>
                    <a:pt x="-983" y="17082"/>
                    <a:pt x="873" y="18303"/>
                    <a:pt x="885" y="18364"/>
                  </a:cubicBezTo>
                  <a:cubicBezTo>
                    <a:pt x="897" y="18425"/>
                    <a:pt x="739" y="17252"/>
                    <a:pt x="812" y="16825"/>
                  </a:cubicBezTo>
                  <a:cubicBezTo>
                    <a:pt x="885" y="16398"/>
                    <a:pt x="568" y="16502"/>
                    <a:pt x="1325" y="15800"/>
                  </a:cubicBezTo>
                  <a:close/>
                </a:path>
              </a:pathLst>
            </a:custGeom>
            <a:solidFill>
              <a:srgbClr val="A0A0A0"/>
            </a:solidFill>
            <a:ln>
              <a:noFill/>
            </a:ln>
          </p:spPr>
          <p:txBody>
            <a:bodyPr/>
            <a:lstStyle/>
            <a:p>
              <a:endParaRPr lang="de-DE"/>
            </a:p>
          </p:txBody>
        </p:sp>
        <p:sp>
          <p:nvSpPr>
            <p:cNvPr id="21" name="Google Shape;759;p49">
              <a:extLst>
                <a:ext uri="{FF2B5EF4-FFF2-40B4-BE49-F238E27FC236}">
                  <a16:creationId xmlns:a16="http://schemas.microsoft.com/office/drawing/2014/main" id="{951B559A-489B-67B6-492C-2E2529F29AA7}"/>
                </a:ext>
              </a:extLst>
            </p:cNvPr>
            <p:cNvSpPr/>
            <p:nvPr/>
          </p:nvSpPr>
          <p:spPr>
            <a:xfrm>
              <a:off x="5043518" y="3915067"/>
              <a:ext cx="399775" cy="459875"/>
            </a:xfrm>
            <a:custGeom>
              <a:avLst/>
              <a:gdLst/>
              <a:ahLst/>
              <a:cxnLst/>
              <a:rect l="l" t="t" r="r" b="b"/>
              <a:pathLst>
                <a:path w="15991" h="18395" extrusionOk="0">
                  <a:moveTo>
                    <a:pt x="1325" y="15800"/>
                  </a:moveTo>
                  <a:cubicBezTo>
                    <a:pt x="2082" y="15098"/>
                    <a:pt x="4341" y="13522"/>
                    <a:pt x="5354" y="12612"/>
                  </a:cubicBezTo>
                  <a:cubicBezTo>
                    <a:pt x="6368" y="11702"/>
                    <a:pt x="6856" y="11031"/>
                    <a:pt x="7406" y="10341"/>
                  </a:cubicBezTo>
                  <a:cubicBezTo>
                    <a:pt x="7956" y="9651"/>
                    <a:pt x="8176" y="9340"/>
                    <a:pt x="8652" y="8473"/>
                  </a:cubicBezTo>
                  <a:cubicBezTo>
                    <a:pt x="9128" y="7606"/>
                    <a:pt x="9849" y="6220"/>
                    <a:pt x="10264" y="5139"/>
                  </a:cubicBezTo>
                  <a:cubicBezTo>
                    <a:pt x="10679" y="4058"/>
                    <a:pt x="10948" y="2702"/>
                    <a:pt x="11143" y="1988"/>
                  </a:cubicBezTo>
                  <a:cubicBezTo>
                    <a:pt x="11338" y="1274"/>
                    <a:pt x="11241" y="1067"/>
                    <a:pt x="11436" y="853"/>
                  </a:cubicBezTo>
                  <a:cubicBezTo>
                    <a:pt x="11631" y="639"/>
                    <a:pt x="11558" y="-845"/>
                    <a:pt x="12315" y="706"/>
                  </a:cubicBezTo>
                  <a:cubicBezTo>
                    <a:pt x="13072" y="2257"/>
                    <a:pt x="16162" y="7838"/>
                    <a:pt x="15979" y="10158"/>
                  </a:cubicBezTo>
                  <a:cubicBezTo>
                    <a:pt x="15796" y="12478"/>
                    <a:pt x="13756" y="13577"/>
                    <a:pt x="11216" y="14627"/>
                  </a:cubicBezTo>
                  <a:cubicBezTo>
                    <a:pt x="8676" y="15677"/>
                    <a:pt x="2461" y="15836"/>
                    <a:pt x="739" y="16459"/>
                  </a:cubicBezTo>
                  <a:cubicBezTo>
                    <a:pt x="-983" y="17082"/>
                    <a:pt x="873" y="18303"/>
                    <a:pt x="885" y="18364"/>
                  </a:cubicBezTo>
                  <a:cubicBezTo>
                    <a:pt x="897" y="18425"/>
                    <a:pt x="739" y="17252"/>
                    <a:pt x="812" y="16825"/>
                  </a:cubicBezTo>
                  <a:cubicBezTo>
                    <a:pt x="885" y="16398"/>
                    <a:pt x="568" y="16502"/>
                    <a:pt x="1325" y="15800"/>
                  </a:cubicBezTo>
                  <a:close/>
                </a:path>
              </a:pathLst>
            </a:custGeom>
            <a:solidFill>
              <a:srgbClr val="A0A0A0"/>
            </a:solidFill>
            <a:ln>
              <a:noFill/>
            </a:ln>
          </p:spPr>
          <p:txBody>
            <a:bodyPr/>
            <a:lstStyle/>
            <a:p>
              <a:endParaRPr lang="de-DE"/>
            </a:p>
          </p:txBody>
        </p:sp>
        <p:sp>
          <p:nvSpPr>
            <p:cNvPr id="22" name="Google Shape;760;p49">
              <a:extLst>
                <a:ext uri="{FF2B5EF4-FFF2-40B4-BE49-F238E27FC236}">
                  <a16:creationId xmlns:a16="http://schemas.microsoft.com/office/drawing/2014/main" id="{CF1DA471-2E33-4B5A-977B-363D1BD475CE}"/>
                </a:ext>
              </a:extLst>
            </p:cNvPr>
            <p:cNvSpPr/>
            <p:nvPr/>
          </p:nvSpPr>
          <p:spPr>
            <a:xfrm>
              <a:off x="5183975" y="3763900"/>
              <a:ext cx="87000" cy="25200"/>
            </a:xfrm>
            <a:prstGeom prst="rect">
              <a:avLst/>
            </a:pr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23" name="Google Shape;761;p49">
              <a:extLst>
                <a:ext uri="{FF2B5EF4-FFF2-40B4-BE49-F238E27FC236}">
                  <a16:creationId xmlns:a16="http://schemas.microsoft.com/office/drawing/2014/main" id="{08192EA9-F816-ED37-2E8B-59569464B305}"/>
                </a:ext>
              </a:extLst>
            </p:cNvPr>
            <p:cNvSpPr/>
            <p:nvPr/>
          </p:nvSpPr>
          <p:spPr>
            <a:xfrm>
              <a:off x="5348300" y="3810000"/>
              <a:ext cx="981000" cy="185400"/>
            </a:xfrm>
            <a:prstGeom prst="rect">
              <a:avLst/>
            </a:prstGeom>
            <a:solidFill>
              <a:srgbClr val="A0A0A0"/>
            </a:solidFill>
            <a:ln w="9525" cap="flat" cmpd="sng">
              <a:solidFill>
                <a:srgbClr val="666666"/>
              </a:solidFill>
              <a:prstDash val="solid"/>
              <a:round/>
              <a:headEnd type="none" w="sm" len="sm"/>
              <a:tailEnd type="none" w="sm" len="sm"/>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24" name="Google Shape;762;p49">
              <a:extLst>
                <a:ext uri="{FF2B5EF4-FFF2-40B4-BE49-F238E27FC236}">
                  <a16:creationId xmlns:a16="http://schemas.microsoft.com/office/drawing/2014/main" id="{E4527DB2-6714-F36A-B250-979E2E5EB5B8}"/>
                </a:ext>
              </a:extLst>
            </p:cNvPr>
            <p:cNvSpPr/>
            <p:nvPr/>
          </p:nvSpPr>
          <p:spPr>
            <a:xfrm>
              <a:off x="5258919" y="4129800"/>
              <a:ext cx="29" cy="2369"/>
            </a:xfrm>
            <a:custGeom>
              <a:avLst/>
              <a:gdLst/>
              <a:ahLst/>
              <a:cxnLst/>
              <a:rect l="l" t="t" r="r" b="b"/>
              <a:pathLst>
                <a:path w="1" h="82" extrusionOk="0">
                  <a:moveTo>
                    <a:pt x="1" y="81"/>
                  </a:moveTo>
                  <a:lnTo>
                    <a:pt x="1" y="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25" name="Google Shape;763;p49">
              <a:extLst>
                <a:ext uri="{FF2B5EF4-FFF2-40B4-BE49-F238E27FC236}">
                  <a16:creationId xmlns:a16="http://schemas.microsoft.com/office/drawing/2014/main" id="{A99D6FE1-D660-52A3-7A70-860F020B344F}"/>
                </a:ext>
              </a:extLst>
            </p:cNvPr>
            <p:cNvSpPr/>
            <p:nvPr/>
          </p:nvSpPr>
          <p:spPr>
            <a:xfrm>
              <a:off x="5223962" y="4174089"/>
              <a:ext cx="2369" cy="7020"/>
            </a:xfrm>
            <a:custGeom>
              <a:avLst/>
              <a:gdLst/>
              <a:ahLst/>
              <a:cxnLst/>
              <a:rect l="l" t="t" r="r" b="b"/>
              <a:pathLst>
                <a:path w="82" h="243" extrusionOk="0">
                  <a:moveTo>
                    <a:pt x="1" y="243"/>
                  </a:moveTo>
                  <a:lnTo>
                    <a:pt x="81" y="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26" name="Google Shape;764;p49">
              <a:extLst>
                <a:ext uri="{FF2B5EF4-FFF2-40B4-BE49-F238E27FC236}">
                  <a16:creationId xmlns:a16="http://schemas.microsoft.com/office/drawing/2014/main" id="{6EC7D5CF-579F-0B4A-5BE1-80FAA799B600}"/>
                </a:ext>
              </a:extLst>
            </p:cNvPr>
            <p:cNvSpPr/>
            <p:nvPr/>
          </p:nvSpPr>
          <p:spPr>
            <a:xfrm>
              <a:off x="6447569" y="4174089"/>
              <a:ext cx="4709" cy="4680"/>
            </a:xfrm>
            <a:custGeom>
              <a:avLst/>
              <a:gdLst/>
              <a:ahLst/>
              <a:cxnLst/>
              <a:rect l="l" t="t" r="r" b="b"/>
              <a:pathLst>
                <a:path w="163" h="162" extrusionOk="0">
                  <a:moveTo>
                    <a:pt x="1" y="1"/>
                  </a:moveTo>
                  <a:lnTo>
                    <a:pt x="162" y="162"/>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27" name="Google Shape;765;p49">
              <a:extLst>
                <a:ext uri="{FF2B5EF4-FFF2-40B4-BE49-F238E27FC236}">
                  <a16:creationId xmlns:a16="http://schemas.microsoft.com/office/drawing/2014/main" id="{CF1807B4-D7B3-AA9C-8438-1EF962440FA1}"/>
                </a:ext>
              </a:extLst>
            </p:cNvPr>
            <p:cNvSpPr/>
            <p:nvPr/>
          </p:nvSpPr>
          <p:spPr>
            <a:xfrm>
              <a:off x="6417292" y="4132140"/>
              <a:ext cx="29" cy="2369"/>
            </a:xfrm>
            <a:custGeom>
              <a:avLst/>
              <a:gdLst/>
              <a:ahLst/>
              <a:cxnLst/>
              <a:rect l="l" t="t" r="r" b="b"/>
              <a:pathLst>
                <a:path w="1" h="82" extrusionOk="0">
                  <a:moveTo>
                    <a:pt x="0" y="0"/>
                  </a:moveTo>
                  <a:lnTo>
                    <a:pt x="0" y="8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2" name="Google Shape;766;p49">
              <a:extLst>
                <a:ext uri="{FF2B5EF4-FFF2-40B4-BE49-F238E27FC236}">
                  <a16:creationId xmlns:a16="http://schemas.microsoft.com/office/drawing/2014/main" id="{52A1193A-816A-E370-4530-10A38E1721C0}"/>
                </a:ext>
              </a:extLst>
            </p:cNvPr>
            <p:cNvSpPr/>
            <p:nvPr/>
          </p:nvSpPr>
          <p:spPr>
            <a:xfrm>
              <a:off x="5028174" y="4248712"/>
              <a:ext cx="1619862" cy="97879"/>
            </a:xfrm>
            <a:custGeom>
              <a:avLst/>
              <a:gdLst/>
              <a:ahLst/>
              <a:cxnLst/>
              <a:rect l="l" t="t" r="r" b="b"/>
              <a:pathLst>
                <a:path w="56070" h="3388" extrusionOk="0">
                  <a:moveTo>
                    <a:pt x="4435" y="1"/>
                  </a:moveTo>
                  <a:lnTo>
                    <a:pt x="4196" y="160"/>
                  </a:lnTo>
                  <a:lnTo>
                    <a:pt x="4200" y="160"/>
                  </a:lnTo>
                  <a:cubicBezTo>
                    <a:pt x="4279" y="105"/>
                    <a:pt x="4357" y="53"/>
                    <a:pt x="4435" y="1"/>
                  </a:cubicBezTo>
                  <a:close/>
                  <a:moveTo>
                    <a:pt x="51636" y="1"/>
                  </a:moveTo>
                  <a:cubicBezTo>
                    <a:pt x="51714" y="53"/>
                    <a:pt x="51792" y="105"/>
                    <a:pt x="51868" y="160"/>
                  </a:cubicBezTo>
                  <a:lnTo>
                    <a:pt x="51875" y="160"/>
                  </a:lnTo>
                  <a:lnTo>
                    <a:pt x="51636" y="1"/>
                  </a:lnTo>
                  <a:close/>
                  <a:moveTo>
                    <a:pt x="4200" y="160"/>
                  </a:moveTo>
                  <a:cubicBezTo>
                    <a:pt x="4037" y="275"/>
                    <a:pt x="3875" y="401"/>
                    <a:pt x="3712" y="564"/>
                  </a:cubicBezTo>
                  <a:lnTo>
                    <a:pt x="82" y="3226"/>
                  </a:lnTo>
                  <a:cubicBezTo>
                    <a:pt x="82" y="3307"/>
                    <a:pt x="1" y="3307"/>
                    <a:pt x="1" y="3387"/>
                  </a:cubicBezTo>
                  <a:lnTo>
                    <a:pt x="56070" y="3387"/>
                  </a:lnTo>
                  <a:lnTo>
                    <a:pt x="55909" y="3226"/>
                  </a:lnTo>
                  <a:lnTo>
                    <a:pt x="52278" y="564"/>
                  </a:lnTo>
                  <a:cubicBezTo>
                    <a:pt x="52170" y="401"/>
                    <a:pt x="52025" y="275"/>
                    <a:pt x="51868" y="160"/>
                  </a:cubicBezTo>
                  <a:close/>
                </a:path>
              </a:pathLst>
            </a:custGeom>
            <a:solidFill>
              <a:srgbClr val="B7B7B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3" name="Google Shape;767;p49">
              <a:extLst>
                <a:ext uri="{FF2B5EF4-FFF2-40B4-BE49-F238E27FC236}">
                  <a16:creationId xmlns:a16="http://schemas.microsoft.com/office/drawing/2014/main" id="{CA724659-29C7-958B-D6BF-2661827EEB42}"/>
                </a:ext>
              </a:extLst>
            </p:cNvPr>
            <p:cNvSpPr/>
            <p:nvPr/>
          </p:nvSpPr>
          <p:spPr>
            <a:xfrm>
              <a:off x="5282233" y="3789534"/>
              <a:ext cx="1109434" cy="300687"/>
            </a:xfrm>
            <a:custGeom>
              <a:avLst/>
              <a:gdLst/>
              <a:ahLst/>
              <a:cxnLst/>
              <a:rect l="l" t="t" r="r" b="b"/>
              <a:pathLst>
                <a:path w="38402" h="10408" extrusionOk="0">
                  <a:moveTo>
                    <a:pt x="2017" y="0"/>
                  </a:moveTo>
                  <a:lnTo>
                    <a:pt x="1291" y="6616"/>
                  </a:lnTo>
                  <a:cubicBezTo>
                    <a:pt x="1049" y="7906"/>
                    <a:pt x="565" y="9197"/>
                    <a:pt x="0" y="10407"/>
                  </a:cubicBezTo>
                  <a:lnTo>
                    <a:pt x="81" y="10246"/>
                  </a:lnTo>
                  <a:lnTo>
                    <a:pt x="38327" y="10246"/>
                  </a:lnTo>
                  <a:cubicBezTo>
                    <a:pt x="37794" y="9083"/>
                    <a:pt x="37342" y="7849"/>
                    <a:pt x="37111" y="6616"/>
                  </a:cubicBezTo>
                  <a:lnTo>
                    <a:pt x="36465" y="565"/>
                  </a:lnTo>
                  <a:cubicBezTo>
                    <a:pt x="32270" y="3066"/>
                    <a:pt x="27591" y="4679"/>
                    <a:pt x="22670" y="5244"/>
                  </a:cubicBezTo>
                  <a:cubicBezTo>
                    <a:pt x="21500" y="5345"/>
                    <a:pt x="20331" y="5395"/>
                    <a:pt x="19163" y="5395"/>
                  </a:cubicBezTo>
                  <a:cubicBezTo>
                    <a:pt x="15661" y="5395"/>
                    <a:pt x="12182" y="4942"/>
                    <a:pt x="8794" y="4034"/>
                  </a:cubicBezTo>
                  <a:cubicBezTo>
                    <a:pt x="6777" y="3631"/>
                    <a:pt x="4841" y="2905"/>
                    <a:pt x="2985" y="1936"/>
                  </a:cubicBezTo>
                  <a:cubicBezTo>
                    <a:pt x="2824" y="1856"/>
                    <a:pt x="2743" y="1694"/>
                    <a:pt x="2582" y="1533"/>
                  </a:cubicBezTo>
                  <a:cubicBezTo>
                    <a:pt x="2421" y="1372"/>
                    <a:pt x="2098" y="1049"/>
                    <a:pt x="1937" y="807"/>
                  </a:cubicBezTo>
                  <a:lnTo>
                    <a:pt x="2017" y="0"/>
                  </a:lnTo>
                  <a:close/>
                  <a:moveTo>
                    <a:pt x="38327" y="10246"/>
                  </a:moveTo>
                  <a:cubicBezTo>
                    <a:pt x="38352" y="10300"/>
                    <a:pt x="38377" y="10354"/>
                    <a:pt x="38402" y="10407"/>
                  </a:cubicBezTo>
                  <a:cubicBezTo>
                    <a:pt x="38402" y="10327"/>
                    <a:pt x="38402" y="10246"/>
                    <a:pt x="38402" y="10246"/>
                  </a:cubicBezTo>
                  <a:close/>
                </a:path>
              </a:pathLst>
            </a:cu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4" name="Google Shape;768;p49">
              <a:extLst>
                <a:ext uri="{FF2B5EF4-FFF2-40B4-BE49-F238E27FC236}">
                  <a16:creationId xmlns:a16="http://schemas.microsoft.com/office/drawing/2014/main" id="{616D1882-66F2-FC9B-3D1E-970411ADE9A1}"/>
                </a:ext>
              </a:extLst>
            </p:cNvPr>
            <p:cNvSpPr/>
            <p:nvPr/>
          </p:nvSpPr>
          <p:spPr>
            <a:xfrm>
              <a:off x="6482526" y="4213697"/>
              <a:ext cx="9360" cy="9360"/>
            </a:xfrm>
            <a:custGeom>
              <a:avLst/>
              <a:gdLst/>
              <a:ahLst/>
              <a:cxnLst/>
              <a:rect l="l" t="t" r="r" b="b"/>
              <a:pathLst>
                <a:path w="324" h="324" extrusionOk="0">
                  <a:moveTo>
                    <a:pt x="324" y="324"/>
                  </a:moveTo>
                  <a:lnTo>
                    <a:pt x="1" y="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5" name="Google Shape;769;p49">
              <a:extLst>
                <a:ext uri="{FF2B5EF4-FFF2-40B4-BE49-F238E27FC236}">
                  <a16:creationId xmlns:a16="http://schemas.microsoft.com/office/drawing/2014/main" id="{160F49F3-7E3E-A1DF-0005-D9C206A412F4}"/>
                </a:ext>
              </a:extLst>
            </p:cNvPr>
            <p:cNvSpPr/>
            <p:nvPr/>
          </p:nvSpPr>
          <p:spPr>
            <a:xfrm>
              <a:off x="5184353" y="4213697"/>
              <a:ext cx="9331" cy="9360"/>
            </a:xfrm>
            <a:custGeom>
              <a:avLst/>
              <a:gdLst/>
              <a:ahLst/>
              <a:cxnLst/>
              <a:rect l="l" t="t" r="r" b="b"/>
              <a:pathLst>
                <a:path w="323" h="324" extrusionOk="0">
                  <a:moveTo>
                    <a:pt x="323" y="1"/>
                  </a:moveTo>
                  <a:lnTo>
                    <a:pt x="0" y="324"/>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6" name="Google Shape;770;p49">
              <a:extLst>
                <a:ext uri="{FF2B5EF4-FFF2-40B4-BE49-F238E27FC236}">
                  <a16:creationId xmlns:a16="http://schemas.microsoft.com/office/drawing/2014/main" id="{B0F281F6-32E4-880D-4547-71BC76C83944}"/>
                </a:ext>
              </a:extLst>
            </p:cNvPr>
            <p:cNvSpPr/>
            <p:nvPr/>
          </p:nvSpPr>
          <p:spPr>
            <a:xfrm>
              <a:off x="5151708" y="4085512"/>
              <a:ext cx="1377475" cy="167851"/>
            </a:xfrm>
            <a:custGeom>
              <a:avLst/>
              <a:gdLst/>
              <a:ahLst/>
              <a:cxnLst/>
              <a:rect l="l" t="t" r="r" b="b"/>
              <a:pathLst>
                <a:path w="47680" h="5810" extrusionOk="0">
                  <a:moveTo>
                    <a:pt x="4599" y="1"/>
                  </a:moveTo>
                  <a:lnTo>
                    <a:pt x="4518" y="162"/>
                  </a:lnTo>
                  <a:cubicBezTo>
                    <a:pt x="4276" y="646"/>
                    <a:pt x="3954" y="1130"/>
                    <a:pt x="3712" y="1614"/>
                  </a:cubicBezTo>
                  <a:cubicBezTo>
                    <a:pt x="3389" y="2179"/>
                    <a:pt x="2986" y="2663"/>
                    <a:pt x="2663" y="3067"/>
                  </a:cubicBezTo>
                  <a:lnTo>
                    <a:pt x="2502" y="3309"/>
                  </a:lnTo>
                  <a:cubicBezTo>
                    <a:pt x="2260" y="3631"/>
                    <a:pt x="1856" y="4035"/>
                    <a:pt x="1533" y="4438"/>
                  </a:cubicBezTo>
                  <a:lnTo>
                    <a:pt x="1211" y="4761"/>
                  </a:lnTo>
                  <a:cubicBezTo>
                    <a:pt x="888" y="5003"/>
                    <a:pt x="565" y="5325"/>
                    <a:pt x="162" y="5648"/>
                  </a:cubicBezTo>
                  <a:lnTo>
                    <a:pt x="1" y="5809"/>
                  </a:lnTo>
                  <a:lnTo>
                    <a:pt x="47679" y="5809"/>
                  </a:lnTo>
                  <a:lnTo>
                    <a:pt x="47437" y="5648"/>
                  </a:lnTo>
                  <a:cubicBezTo>
                    <a:pt x="47115" y="5325"/>
                    <a:pt x="46711" y="5003"/>
                    <a:pt x="46389" y="4761"/>
                  </a:cubicBezTo>
                  <a:lnTo>
                    <a:pt x="46066" y="4438"/>
                  </a:lnTo>
                  <a:cubicBezTo>
                    <a:pt x="45743" y="4035"/>
                    <a:pt x="45421" y="3631"/>
                    <a:pt x="45098" y="3228"/>
                  </a:cubicBezTo>
                  <a:lnTo>
                    <a:pt x="44937" y="3067"/>
                  </a:lnTo>
                  <a:cubicBezTo>
                    <a:pt x="44533" y="2663"/>
                    <a:pt x="44210" y="2098"/>
                    <a:pt x="43888" y="1614"/>
                  </a:cubicBezTo>
                  <a:cubicBezTo>
                    <a:pt x="43646" y="1130"/>
                    <a:pt x="43404" y="646"/>
                    <a:pt x="43081" y="162"/>
                  </a:cubicBezTo>
                  <a:cubicBezTo>
                    <a:pt x="43081" y="162"/>
                    <a:pt x="43081" y="82"/>
                    <a:pt x="43081" y="1"/>
                  </a:cubicBezTo>
                  <a:close/>
                </a:path>
              </a:pathLst>
            </a:cu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dirty="0"/>
            </a:p>
          </p:txBody>
        </p:sp>
        <p:sp>
          <p:nvSpPr>
            <p:cNvPr id="57" name="Google Shape;771;p49">
              <a:extLst>
                <a:ext uri="{FF2B5EF4-FFF2-40B4-BE49-F238E27FC236}">
                  <a16:creationId xmlns:a16="http://schemas.microsoft.com/office/drawing/2014/main" id="{6363FF6A-5A86-5BB7-4736-1BE91EF538BD}"/>
                </a:ext>
              </a:extLst>
            </p:cNvPr>
            <p:cNvSpPr/>
            <p:nvPr/>
          </p:nvSpPr>
          <p:spPr>
            <a:xfrm>
              <a:off x="5016531" y="4343477"/>
              <a:ext cx="1645401" cy="63096"/>
            </a:xfrm>
            <a:custGeom>
              <a:avLst/>
              <a:gdLst/>
              <a:ahLst/>
              <a:cxnLst/>
              <a:rect l="l" t="t" r="r" b="b"/>
              <a:pathLst>
                <a:path w="56954" h="2184" extrusionOk="0">
                  <a:moveTo>
                    <a:pt x="404" y="0"/>
                  </a:moveTo>
                  <a:cubicBezTo>
                    <a:pt x="162" y="161"/>
                    <a:pt x="81" y="323"/>
                    <a:pt x="1" y="565"/>
                  </a:cubicBezTo>
                  <a:cubicBezTo>
                    <a:pt x="1" y="645"/>
                    <a:pt x="1" y="726"/>
                    <a:pt x="1" y="887"/>
                  </a:cubicBezTo>
                  <a:cubicBezTo>
                    <a:pt x="81" y="1614"/>
                    <a:pt x="727" y="2178"/>
                    <a:pt x="1533" y="2178"/>
                  </a:cubicBezTo>
                  <a:lnTo>
                    <a:pt x="55424" y="2178"/>
                  </a:lnTo>
                  <a:cubicBezTo>
                    <a:pt x="55465" y="2182"/>
                    <a:pt x="55506" y="2184"/>
                    <a:pt x="55546" y="2184"/>
                  </a:cubicBezTo>
                  <a:cubicBezTo>
                    <a:pt x="56370" y="2184"/>
                    <a:pt x="56953" y="1411"/>
                    <a:pt x="56876" y="565"/>
                  </a:cubicBezTo>
                  <a:cubicBezTo>
                    <a:pt x="56796" y="323"/>
                    <a:pt x="56634" y="161"/>
                    <a:pt x="56473" y="0"/>
                  </a:cubicBezTo>
                  <a:close/>
                </a:path>
              </a:pathLst>
            </a:custGeom>
            <a:solidFill>
              <a:srgbClr val="818284"/>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8" name="Google Shape;772;p49">
              <a:extLst>
                <a:ext uri="{FF2B5EF4-FFF2-40B4-BE49-F238E27FC236}">
                  <a16:creationId xmlns:a16="http://schemas.microsoft.com/office/drawing/2014/main" id="{C5CDC928-6714-2D82-2F6E-9B880ADD6C32}"/>
                </a:ext>
              </a:extLst>
            </p:cNvPr>
            <p:cNvSpPr/>
            <p:nvPr/>
          </p:nvSpPr>
          <p:spPr>
            <a:xfrm>
              <a:off x="5230953" y="785292"/>
              <a:ext cx="3022934" cy="3160162"/>
            </a:xfrm>
            <a:custGeom>
              <a:avLst/>
              <a:gdLst/>
              <a:ahLst/>
              <a:cxnLst/>
              <a:rect l="l" t="t" r="r" b="b"/>
              <a:pathLst>
                <a:path w="104636" h="109386" extrusionOk="0">
                  <a:moveTo>
                    <a:pt x="103990" y="0"/>
                  </a:moveTo>
                  <a:lnTo>
                    <a:pt x="103264" y="726"/>
                  </a:lnTo>
                  <a:cubicBezTo>
                    <a:pt x="103506" y="1130"/>
                    <a:pt x="103668" y="1694"/>
                    <a:pt x="103668" y="2178"/>
                  </a:cubicBezTo>
                  <a:lnTo>
                    <a:pt x="103668" y="100036"/>
                  </a:lnTo>
                  <a:cubicBezTo>
                    <a:pt x="103668" y="101730"/>
                    <a:pt x="102296" y="103102"/>
                    <a:pt x="100602" y="103102"/>
                  </a:cubicBezTo>
                  <a:lnTo>
                    <a:pt x="969" y="103102"/>
                  </a:lnTo>
                  <a:lnTo>
                    <a:pt x="1" y="103989"/>
                  </a:lnTo>
                  <a:lnTo>
                    <a:pt x="3792" y="103989"/>
                  </a:lnTo>
                  <a:lnTo>
                    <a:pt x="3712" y="104796"/>
                  </a:lnTo>
                  <a:cubicBezTo>
                    <a:pt x="3873" y="105038"/>
                    <a:pt x="4115" y="105280"/>
                    <a:pt x="4357" y="105522"/>
                  </a:cubicBezTo>
                  <a:lnTo>
                    <a:pt x="4760" y="106006"/>
                  </a:lnTo>
                  <a:cubicBezTo>
                    <a:pt x="6616" y="106894"/>
                    <a:pt x="8552" y="107620"/>
                    <a:pt x="10569" y="108104"/>
                  </a:cubicBezTo>
                  <a:cubicBezTo>
                    <a:pt x="13943" y="108947"/>
                    <a:pt x="17407" y="109386"/>
                    <a:pt x="20893" y="109386"/>
                  </a:cubicBezTo>
                  <a:cubicBezTo>
                    <a:pt x="22076" y="109386"/>
                    <a:pt x="23260" y="109335"/>
                    <a:pt x="24445" y="109233"/>
                  </a:cubicBezTo>
                  <a:cubicBezTo>
                    <a:pt x="29366" y="108668"/>
                    <a:pt x="34045" y="107136"/>
                    <a:pt x="38321" y="104635"/>
                  </a:cubicBezTo>
                  <a:lnTo>
                    <a:pt x="38240" y="103989"/>
                  </a:lnTo>
                  <a:lnTo>
                    <a:pt x="100602" y="103989"/>
                  </a:lnTo>
                  <a:cubicBezTo>
                    <a:pt x="102780" y="103989"/>
                    <a:pt x="104636" y="102214"/>
                    <a:pt x="104636" y="99956"/>
                  </a:cubicBezTo>
                  <a:lnTo>
                    <a:pt x="104636" y="2178"/>
                  </a:lnTo>
                  <a:cubicBezTo>
                    <a:pt x="104636" y="1372"/>
                    <a:pt x="104394" y="646"/>
                    <a:pt x="103990" y="0"/>
                  </a:cubicBezTo>
                  <a:close/>
                </a:path>
              </a:pathLst>
            </a:custGeom>
            <a:gradFill>
              <a:gsLst>
                <a:gs pos="0">
                  <a:srgbClr val="A0A0A0"/>
                </a:gs>
                <a:gs pos="12000">
                  <a:srgbClr val="919192"/>
                </a:gs>
                <a:gs pos="100000">
                  <a:srgbClr val="818284"/>
                </a:gs>
              </a:gsLst>
              <a:lin ang="16200038" scaled="0"/>
            </a:gra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9" name="Google Shape;773;p49">
              <a:extLst>
                <a:ext uri="{FF2B5EF4-FFF2-40B4-BE49-F238E27FC236}">
                  <a16:creationId xmlns:a16="http://schemas.microsoft.com/office/drawing/2014/main" id="{FDE280A9-3347-99EE-DCEC-8697EB9DE7EA}"/>
                </a:ext>
              </a:extLst>
            </p:cNvPr>
            <p:cNvSpPr/>
            <p:nvPr/>
          </p:nvSpPr>
          <p:spPr>
            <a:xfrm>
              <a:off x="5258919" y="803926"/>
              <a:ext cx="2967003" cy="2959983"/>
            </a:xfrm>
            <a:custGeom>
              <a:avLst/>
              <a:gdLst/>
              <a:ahLst/>
              <a:cxnLst/>
              <a:rect l="l" t="t" r="r" b="b"/>
              <a:pathLst>
                <a:path w="102700" h="102457" extrusionOk="0">
                  <a:moveTo>
                    <a:pt x="102377" y="1"/>
                  </a:moveTo>
                  <a:lnTo>
                    <a:pt x="98101" y="4276"/>
                  </a:lnTo>
                  <a:lnTo>
                    <a:pt x="98101" y="97858"/>
                  </a:lnTo>
                  <a:lnTo>
                    <a:pt x="4519" y="97858"/>
                  </a:lnTo>
                  <a:lnTo>
                    <a:pt x="1" y="102457"/>
                  </a:lnTo>
                  <a:lnTo>
                    <a:pt x="99634" y="102457"/>
                  </a:lnTo>
                  <a:cubicBezTo>
                    <a:pt x="101328" y="102457"/>
                    <a:pt x="102700" y="101005"/>
                    <a:pt x="102700" y="99311"/>
                  </a:cubicBezTo>
                  <a:lnTo>
                    <a:pt x="102700" y="1533"/>
                  </a:lnTo>
                  <a:cubicBezTo>
                    <a:pt x="102700" y="969"/>
                    <a:pt x="102619" y="485"/>
                    <a:pt x="102377" y="1"/>
                  </a:cubicBezTo>
                  <a:close/>
                </a:path>
              </a:pathLst>
            </a:custGeom>
            <a:solidFill>
              <a:srgbClr val="00000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60" name="Google Shape;774;p49">
              <a:extLst>
                <a:ext uri="{FF2B5EF4-FFF2-40B4-BE49-F238E27FC236}">
                  <a16:creationId xmlns:a16="http://schemas.microsoft.com/office/drawing/2014/main" id="{41E113FA-8BE9-D909-BB22-8B15B17D5682}"/>
                </a:ext>
              </a:extLst>
            </p:cNvPr>
            <p:cNvSpPr/>
            <p:nvPr/>
          </p:nvSpPr>
          <p:spPr>
            <a:xfrm>
              <a:off x="3422350" y="731675"/>
              <a:ext cx="4812901" cy="3057819"/>
            </a:xfrm>
            <a:custGeom>
              <a:avLst/>
              <a:gdLst/>
              <a:ahLst/>
              <a:cxnLst/>
              <a:rect l="l" t="t" r="r" b="b"/>
              <a:pathLst>
                <a:path w="166594" h="105926" extrusionOk="0">
                  <a:moveTo>
                    <a:pt x="4034" y="1"/>
                  </a:moveTo>
                  <a:cubicBezTo>
                    <a:pt x="1775" y="1"/>
                    <a:pt x="0" y="1856"/>
                    <a:pt x="0" y="4034"/>
                  </a:cubicBezTo>
                  <a:lnTo>
                    <a:pt x="0" y="101892"/>
                  </a:lnTo>
                  <a:cubicBezTo>
                    <a:pt x="0" y="104070"/>
                    <a:pt x="1775" y="105926"/>
                    <a:pt x="4034" y="105926"/>
                  </a:cubicBezTo>
                  <a:lnTo>
                    <a:pt x="62604" y="105926"/>
                  </a:lnTo>
                  <a:lnTo>
                    <a:pt x="63491" y="105039"/>
                  </a:lnTo>
                  <a:lnTo>
                    <a:pt x="4034" y="104958"/>
                  </a:lnTo>
                  <a:cubicBezTo>
                    <a:pt x="2340" y="104958"/>
                    <a:pt x="968" y="103506"/>
                    <a:pt x="968" y="101812"/>
                  </a:cubicBezTo>
                  <a:lnTo>
                    <a:pt x="968" y="4034"/>
                  </a:lnTo>
                  <a:cubicBezTo>
                    <a:pt x="968" y="2340"/>
                    <a:pt x="2340" y="969"/>
                    <a:pt x="4034" y="969"/>
                  </a:cubicBezTo>
                  <a:lnTo>
                    <a:pt x="163205" y="969"/>
                  </a:lnTo>
                  <a:cubicBezTo>
                    <a:pt x="164334" y="969"/>
                    <a:pt x="165383" y="1534"/>
                    <a:pt x="165867" y="2582"/>
                  </a:cubicBezTo>
                  <a:lnTo>
                    <a:pt x="166593" y="1856"/>
                  </a:lnTo>
                  <a:cubicBezTo>
                    <a:pt x="165787" y="727"/>
                    <a:pt x="164577" y="1"/>
                    <a:pt x="163205" y="1"/>
                  </a:cubicBez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61" name="Google Shape;775;p49">
              <a:extLst>
                <a:ext uri="{FF2B5EF4-FFF2-40B4-BE49-F238E27FC236}">
                  <a16:creationId xmlns:a16="http://schemas.microsoft.com/office/drawing/2014/main" id="{98145435-FD7B-C0B7-9ED0-214DCE305D00}"/>
                </a:ext>
              </a:extLst>
            </p:cNvPr>
            <p:cNvSpPr/>
            <p:nvPr/>
          </p:nvSpPr>
          <p:spPr>
            <a:xfrm>
              <a:off x="8071400" y="760800"/>
              <a:ext cx="153000" cy="153000"/>
            </a:xfrm>
            <a:prstGeom prst="ellipse">
              <a:avLst/>
            </a:prstGeom>
            <a:solidFill>
              <a:srgbClr val="00000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sz="700"/>
            </a:p>
          </p:txBody>
        </p:sp>
        <p:sp>
          <p:nvSpPr>
            <p:cNvPr id="62" name="Google Shape;776;p49">
              <a:extLst>
                <a:ext uri="{FF2B5EF4-FFF2-40B4-BE49-F238E27FC236}">
                  <a16:creationId xmlns:a16="http://schemas.microsoft.com/office/drawing/2014/main" id="{95F89C56-4E63-BC84-8D2C-88D5D64C01AD}"/>
                </a:ext>
              </a:extLst>
            </p:cNvPr>
            <p:cNvSpPr/>
            <p:nvPr/>
          </p:nvSpPr>
          <p:spPr>
            <a:xfrm>
              <a:off x="3447978" y="759551"/>
              <a:ext cx="4766301" cy="3004358"/>
            </a:xfrm>
            <a:custGeom>
              <a:avLst/>
              <a:gdLst/>
              <a:ahLst/>
              <a:cxnLst/>
              <a:rect l="l" t="t" r="r" b="b"/>
              <a:pathLst>
                <a:path w="164981" h="103993" extrusionOk="0">
                  <a:moveTo>
                    <a:pt x="82691" y="1273"/>
                  </a:moveTo>
                  <a:cubicBezTo>
                    <a:pt x="83178" y="1273"/>
                    <a:pt x="83660" y="1635"/>
                    <a:pt x="83660" y="2182"/>
                  </a:cubicBezTo>
                  <a:cubicBezTo>
                    <a:pt x="83660" y="2666"/>
                    <a:pt x="83257" y="3150"/>
                    <a:pt x="82692" y="3150"/>
                  </a:cubicBezTo>
                  <a:cubicBezTo>
                    <a:pt x="81885" y="3069"/>
                    <a:pt x="81482" y="2101"/>
                    <a:pt x="82047" y="1537"/>
                  </a:cubicBezTo>
                  <a:cubicBezTo>
                    <a:pt x="82228" y="1355"/>
                    <a:pt x="82460" y="1273"/>
                    <a:pt x="82691" y="1273"/>
                  </a:cubicBezTo>
                  <a:close/>
                  <a:moveTo>
                    <a:pt x="3012" y="1"/>
                  </a:moveTo>
                  <a:cubicBezTo>
                    <a:pt x="1376" y="1"/>
                    <a:pt x="0" y="1420"/>
                    <a:pt x="0" y="3069"/>
                  </a:cubicBezTo>
                  <a:lnTo>
                    <a:pt x="0" y="100927"/>
                  </a:lnTo>
                  <a:cubicBezTo>
                    <a:pt x="81" y="102621"/>
                    <a:pt x="1453" y="103993"/>
                    <a:pt x="3147" y="103993"/>
                  </a:cubicBezTo>
                  <a:lnTo>
                    <a:pt x="62685" y="103993"/>
                  </a:lnTo>
                  <a:lnTo>
                    <a:pt x="67203" y="99394"/>
                  </a:lnTo>
                  <a:lnTo>
                    <a:pt x="4599" y="99394"/>
                  </a:lnTo>
                  <a:lnTo>
                    <a:pt x="4599" y="4602"/>
                  </a:lnTo>
                  <a:lnTo>
                    <a:pt x="160785" y="4602"/>
                  </a:lnTo>
                  <a:lnTo>
                    <a:pt x="160785" y="5812"/>
                  </a:lnTo>
                  <a:lnTo>
                    <a:pt x="164980" y="1617"/>
                  </a:lnTo>
                  <a:cubicBezTo>
                    <a:pt x="164496" y="649"/>
                    <a:pt x="163447" y="4"/>
                    <a:pt x="162318" y="4"/>
                  </a:cubicBezTo>
                  <a:lnTo>
                    <a:pt x="3147" y="4"/>
                  </a:lnTo>
                  <a:cubicBezTo>
                    <a:pt x="3102" y="2"/>
                    <a:pt x="3057" y="1"/>
                    <a:pt x="3012" y="1"/>
                  </a:cubicBezTo>
                  <a:close/>
                </a:path>
              </a:pathLst>
            </a:custGeom>
            <a:solidFill>
              <a:srgbClr val="20202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63" name="Google Shape;777;p49">
              <a:extLst>
                <a:ext uri="{FF2B5EF4-FFF2-40B4-BE49-F238E27FC236}">
                  <a16:creationId xmlns:a16="http://schemas.microsoft.com/office/drawing/2014/main" id="{C1D978DE-9A13-CE26-3F7C-20D2FB223BC1}"/>
                </a:ext>
              </a:extLst>
            </p:cNvPr>
            <p:cNvSpPr/>
            <p:nvPr/>
          </p:nvSpPr>
          <p:spPr>
            <a:xfrm>
              <a:off x="5801964" y="796934"/>
              <a:ext cx="62980" cy="51915"/>
            </a:xfrm>
            <a:custGeom>
              <a:avLst/>
              <a:gdLst/>
              <a:ahLst/>
              <a:cxnLst/>
              <a:rect l="l" t="t" r="r" b="b"/>
              <a:pathLst>
                <a:path w="2180" h="1797" extrusionOk="0">
                  <a:moveTo>
                    <a:pt x="1256" y="171"/>
                  </a:moveTo>
                  <a:cubicBezTo>
                    <a:pt x="1614" y="171"/>
                    <a:pt x="1937" y="458"/>
                    <a:pt x="1937" y="888"/>
                  </a:cubicBezTo>
                  <a:cubicBezTo>
                    <a:pt x="1937" y="1291"/>
                    <a:pt x="1614" y="1614"/>
                    <a:pt x="1211" y="1614"/>
                  </a:cubicBezTo>
                  <a:cubicBezTo>
                    <a:pt x="566" y="1614"/>
                    <a:pt x="324" y="807"/>
                    <a:pt x="727" y="404"/>
                  </a:cubicBezTo>
                  <a:cubicBezTo>
                    <a:pt x="888" y="243"/>
                    <a:pt x="1077" y="171"/>
                    <a:pt x="1256" y="171"/>
                  </a:cubicBezTo>
                  <a:close/>
                  <a:moveTo>
                    <a:pt x="1211" y="1"/>
                  </a:moveTo>
                  <a:cubicBezTo>
                    <a:pt x="404" y="1"/>
                    <a:pt x="1" y="969"/>
                    <a:pt x="566" y="1533"/>
                  </a:cubicBezTo>
                  <a:cubicBezTo>
                    <a:pt x="747" y="1715"/>
                    <a:pt x="979" y="1797"/>
                    <a:pt x="1210" y="1797"/>
                  </a:cubicBezTo>
                  <a:cubicBezTo>
                    <a:pt x="1697" y="1797"/>
                    <a:pt x="2179" y="1435"/>
                    <a:pt x="2179" y="888"/>
                  </a:cubicBezTo>
                  <a:cubicBezTo>
                    <a:pt x="2179" y="404"/>
                    <a:pt x="1776" y="1"/>
                    <a:pt x="1211" y="1"/>
                  </a:cubicBezTo>
                  <a:close/>
                </a:path>
              </a:pathLst>
            </a:custGeom>
            <a:solidFill>
              <a:srgbClr val="FFFFFF"/>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64" name="Google Shape;778;p49">
              <a:extLst>
                <a:ext uri="{FF2B5EF4-FFF2-40B4-BE49-F238E27FC236}">
                  <a16:creationId xmlns:a16="http://schemas.microsoft.com/office/drawing/2014/main" id="{F84E1979-7735-4FE3-E7CE-1963A7DB5E23}"/>
                </a:ext>
              </a:extLst>
            </p:cNvPr>
            <p:cNvSpPr/>
            <p:nvPr/>
          </p:nvSpPr>
          <p:spPr>
            <a:xfrm>
              <a:off x="5818287" y="801615"/>
              <a:ext cx="39666" cy="41977"/>
            </a:xfrm>
            <a:custGeom>
              <a:avLst/>
              <a:gdLst/>
              <a:ahLst/>
              <a:cxnLst/>
              <a:rect l="l" t="t" r="r" b="b"/>
              <a:pathLst>
                <a:path w="1373" h="1453" extrusionOk="0">
                  <a:moveTo>
                    <a:pt x="646" y="0"/>
                  </a:moveTo>
                  <a:cubicBezTo>
                    <a:pt x="243" y="0"/>
                    <a:pt x="1" y="323"/>
                    <a:pt x="1" y="726"/>
                  </a:cubicBezTo>
                  <a:cubicBezTo>
                    <a:pt x="1" y="1129"/>
                    <a:pt x="243" y="1452"/>
                    <a:pt x="646" y="1452"/>
                  </a:cubicBezTo>
                  <a:cubicBezTo>
                    <a:pt x="1049" y="1452"/>
                    <a:pt x="1372" y="1129"/>
                    <a:pt x="1372" y="726"/>
                  </a:cubicBezTo>
                  <a:cubicBezTo>
                    <a:pt x="1372" y="323"/>
                    <a:pt x="1049" y="0"/>
                    <a:pt x="646" y="0"/>
                  </a:cubicBezTo>
                  <a:close/>
                </a:path>
              </a:pathLst>
            </a:custGeom>
            <a:solidFill>
              <a:srgbClr val="20202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65" name="Google Shape;779;p49">
              <a:extLst>
                <a:ext uri="{FF2B5EF4-FFF2-40B4-BE49-F238E27FC236}">
                  <a16:creationId xmlns:a16="http://schemas.microsoft.com/office/drawing/2014/main" id="{18C8D137-CE8A-2986-8123-87B068C73917}"/>
                </a:ext>
              </a:extLst>
            </p:cNvPr>
            <p:cNvSpPr/>
            <p:nvPr/>
          </p:nvSpPr>
          <p:spPr>
            <a:xfrm>
              <a:off x="5338300" y="3789525"/>
              <a:ext cx="1000500" cy="185400"/>
            </a:xfrm>
            <a:prstGeom prst="rect">
              <a:avLst/>
            </a:prstGeom>
            <a:gradFill>
              <a:gsLst>
                <a:gs pos="0">
                  <a:srgbClr val="A0A0A0"/>
                </a:gs>
                <a:gs pos="36000">
                  <a:srgbClr val="919192"/>
                </a:gs>
                <a:gs pos="100000">
                  <a:srgbClr val="818284"/>
                </a:gs>
              </a:gsLst>
              <a:lin ang="16200038" scaled="0"/>
            </a:gra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872937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00"/>
                                  </p:stCondLst>
                                  <p:endCondLst>
                                    <p:cond evt="begin" delay="0">
                                      <p:tn val="5"/>
                                    </p:cond>
                                  </p:end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96D1DE2-73B7-C650-1233-6CA48CBD0649}"/>
              </a:ext>
            </a:extLst>
          </p:cNvPr>
          <p:cNvSpPr>
            <a:spLocks noGrp="1"/>
          </p:cNvSpPr>
          <p:nvPr>
            <p:ph type="dt" sz="half" idx="10"/>
          </p:nvPr>
        </p:nvSpPr>
        <p:spPr/>
        <p:txBody>
          <a:bodyPr/>
          <a:lstStyle/>
          <a:p>
            <a:r>
              <a:rPr lang="de-DE"/>
              <a:t>| </a:t>
            </a:r>
            <a:fld id="{47EF7EB3-6D1D-4B0B-B3F8-F3B2751CB2E6}" type="datetime1">
              <a:rPr lang="de-DE" smtClean="0">
                <a:latin typeface="+mn-lt"/>
              </a:rPr>
              <a:t>18.01.24</a:t>
            </a:fld>
            <a:endParaRPr lang="de-DE">
              <a:latin typeface="+mn-lt"/>
            </a:endParaRPr>
          </a:p>
        </p:txBody>
      </p:sp>
      <p:sp>
        <p:nvSpPr>
          <p:cNvPr id="3" name="Foliennummernplatzhalter 2">
            <a:extLst>
              <a:ext uri="{FF2B5EF4-FFF2-40B4-BE49-F238E27FC236}">
                <a16:creationId xmlns:a16="http://schemas.microsoft.com/office/drawing/2014/main" id="{9120BB18-63CB-497D-72D2-E45838AE6B80}"/>
              </a:ext>
            </a:extLst>
          </p:cNvPr>
          <p:cNvSpPr>
            <a:spLocks noGrp="1"/>
          </p:cNvSpPr>
          <p:nvPr>
            <p:ph type="sldNum" sz="quarter" idx="11"/>
          </p:nvPr>
        </p:nvSpPr>
        <p:spPr/>
        <p:txBody>
          <a:bodyPr/>
          <a:lstStyle/>
          <a:p>
            <a:r>
              <a:rPr lang="de-DE"/>
              <a:t>Seite </a:t>
            </a:r>
            <a:fld id="{F3829FEA-ED73-4A5A-98B4-E51078EAB7AC}" type="slidenum">
              <a:rPr lang="de-DE" smtClean="0">
                <a:latin typeface="+mj-lt"/>
              </a:rPr>
              <a:pPr/>
              <a:t>8</a:t>
            </a:fld>
            <a:endParaRPr lang="de-DE">
              <a:latin typeface="+mj-lt"/>
            </a:endParaRPr>
          </a:p>
        </p:txBody>
      </p:sp>
      <p:sp>
        <p:nvSpPr>
          <p:cNvPr id="4" name="Textplatzhalter 3">
            <a:extLst>
              <a:ext uri="{FF2B5EF4-FFF2-40B4-BE49-F238E27FC236}">
                <a16:creationId xmlns:a16="http://schemas.microsoft.com/office/drawing/2014/main" id="{238C3D29-A1DB-3BE0-C088-2F4CAC92AA4D}"/>
              </a:ext>
            </a:extLst>
          </p:cNvPr>
          <p:cNvSpPr>
            <a:spLocks noGrp="1"/>
          </p:cNvSpPr>
          <p:nvPr>
            <p:ph type="body" sz="quarter" idx="13"/>
          </p:nvPr>
        </p:nvSpPr>
        <p:spPr/>
        <p:txBody>
          <a:bodyPr vert="horz" lIns="0" tIns="0" rIns="0" bIns="0" rtlCol="0" anchor="t">
            <a:normAutofit/>
          </a:bodyPr>
          <a:lstStyle/>
          <a:p>
            <a:r>
              <a:rPr lang="de-DE" b="1" dirty="0">
                <a:solidFill>
                  <a:srgbClr val="303030"/>
                </a:solidFill>
              </a:rPr>
              <a:t>Wir bieten kostenlos die Nutzung unserer Infrastruktur für:</a:t>
            </a:r>
          </a:p>
          <a:p>
            <a:endParaRPr lang="de-DE" b="1" dirty="0">
              <a:solidFill>
                <a:srgbClr val="303030"/>
              </a:solidFill>
            </a:endParaRPr>
          </a:p>
          <a:p>
            <a:pPr marL="285750" indent="-285750">
              <a:buFont typeface="Arial" panose="020B0604020202020204" pitchFamily="34" charset="0"/>
              <a:buChar char="•"/>
            </a:pPr>
            <a:r>
              <a:rPr lang="de-DE" b="1" dirty="0">
                <a:solidFill>
                  <a:srgbClr val="303030"/>
                </a:solidFill>
              </a:rPr>
              <a:t>Nachweis</a:t>
            </a:r>
          </a:p>
          <a:p>
            <a:pPr marL="285750" indent="-285750">
              <a:buFont typeface="Arial" panose="020B0604020202020204" pitchFamily="34" charset="0"/>
              <a:buChar char="•"/>
            </a:pPr>
            <a:r>
              <a:rPr lang="de-DE" b="1" dirty="0">
                <a:solidFill>
                  <a:srgbClr val="303030"/>
                </a:solidFill>
              </a:rPr>
              <a:t>Kennzeichnung als HVD samt Kategorie</a:t>
            </a:r>
          </a:p>
          <a:p>
            <a:pPr marL="285750" indent="-285750">
              <a:buFont typeface="Arial" panose="020B0604020202020204" pitchFamily="34" charset="0"/>
              <a:buChar char="•"/>
            </a:pPr>
            <a:r>
              <a:rPr lang="de-DE" b="1" dirty="0">
                <a:solidFill>
                  <a:srgbClr val="303030"/>
                </a:solidFill>
              </a:rPr>
              <a:t>Unterstützen der Berichtswege</a:t>
            </a:r>
          </a:p>
          <a:p>
            <a:pPr marL="285750" indent="-285750">
              <a:buFont typeface="Arial" panose="020B0604020202020204" pitchFamily="34" charset="0"/>
              <a:buChar char="•"/>
            </a:pPr>
            <a:r>
              <a:rPr lang="de-DE" b="1" dirty="0">
                <a:solidFill>
                  <a:srgbClr val="303030"/>
                </a:solidFill>
              </a:rPr>
              <a:t>Erfassung im Standard DCAT-</a:t>
            </a:r>
            <a:r>
              <a:rPr lang="de-DE" b="1" dirty="0" err="1">
                <a:solidFill>
                  <a:srgbClr val="303030"/>
                </a:solidFill>
              </a:rPr>
              <a:t>AP.de</a:t>
            </a:r>
            <a:endParaRPr lang="de-DE" b="1" dirty="0">
              <a:solidFill>
                <a:srgbClr val="303030"/>
              </a:solidFill>
            </a:endParaRPr>
          </a:p>
          <a:p>
            <a:pPr marL="285750" indent="-285750">
              <a:buFont typeface="Arial" panose="020B0604020202020204" pitchFamily="34" charset="0"/>
              <a:buChar char="•"/>
            </a:pPr>
            <a:endParaRPr lang="de-DE" b="1" dirty="0"/>
          </a:p>
        </p:txBody>
      </p:sp>
      <p:sp>
        <p:nvSpPr>
          <p:cNvPr id="5" name="Titel 4">
            <a:extLst>
              <a:ext uri="{FF2B5EF4-FFF2-40B4-BE49-F238E27FC236}">
                <a16:creationId xmlns:a16="http://schemas.microsoft.com/office/drawing/2014/main" id="{079C4434-0496-53DB-0A7D-89E502F81B8E}"/>
              </a:ext>
            </a:extLst>
          </p:cNvPr>
          <p:cNvSpPr>
            <a:spLocks noGrp="1"/>
          </p:cNvSpPr>
          <p:nvPr>
            <p:ph type="title"/>
          </p:nvPr>
        </p:nvSpPr>
        <p:spPr/>
        <p:txBody>
          <a:bodyPr/>
          <a:lstStyle/>
          <a:p>
            <a:r>
              <a:rPr lang="de-DE"/>
              <a:t>Angebot </a:t>
            </a:r>
            <a:r>
              <a:rPr lang="de-DE" dirty="0"/>
              <a:t>#3 – Unsere Infrastruktur</a:t>
            </a:r>
          </a:p>
        </p:txBody>
      </p:sp>
      <p:sp>
        <p:nvSpPr>
          <p:cNvPr id="6" name="Inhaltsplatzhalter 5">
            <a:extLst>
              <a:ext uri="{FF2B5EF4-FFF2-40B4-BE49-F238E27FC236}">
                <a16:creationId xmlns:a16="http://schemas.microsoft.com/office/drawing/2014/main" id="{A88764F5-0D2E-BBB7-2ADD-07BAC166D637}"/>
              </a:ext>
            </a:extLst>
          </p:cNvPr>
          <p:cNvSpPr>
            <a:spLocks noGrp="1"/>
          </p:cNvSpPr>
          <p:nvPr>
            <p:ph sz="quarter" idx="14"/>
          </p:nvPr>
        </p:nvSpPr>
        <p:spPr/>
        <p:txBody>
          <a:bodyPr/>
          <a:lstStyle/>
          <a:p>
            <a:endParaRPr lang="de-DE"/>
          </a:p>
        </p:txBody>
      </p:sp>
    </p:spTree>
    <p:extLst>
      <p:ext uri="{BB962C8B-B14F-4D97-AF65-F5344CB8AC3E}">
        <p14:creationId xmlns:p14="http://schemas.microsoft.com/office/powerpoint/2010/main" val="3641045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464A0814-04C1-F7C6-7A12-6D0D11D257F7}"/>
              </a:ext>
            </a:extLst>
          </p:cNvPr>
          <p:cNvSpPr/>
          <p:nvPr/>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Datumsplatzhalter 6">
            <a:extLst>
              <a:ext uri="{FF2B5EF4-FFF2-40B4-BE49-F238E27FC236}">
                <a16:creationId xmlns:a16="http://schemas.microsoft.com/office/drawing/2014/main" id="{4B186A34-51ED-7E1F-26FA-201E053FDCC1}"/>
              </a:ext>
            </a:extLst>
          </p:cNvPr>
          <p:cNvSpPr>
            <a:spLocks noGrp="1"/>
          </p:cNvSpPr>
          <p:nvPr>
            <p:ph type="dt" sz="half" idx="10"/>
          </p:nvPr>
        </p:nvSpPr>
        <p:spPr/>
        <p:txBody>
          <a:bodyPr/>
          <a:lstStyle/>
          <a:p>
            <a:r>
              <a:rPr lang="de-DE"/>
              <a:t> </a:t>
            </a:r>
          </a:p>
        </p:txBody>
      </p:sp>
      <p:sp>
        <p:nvSpPr>
          <p:cNvPr id="5" name="Foliennummernplatzhalter 4">
            <a:extLst>
              <a:ext uri="{FF2B5EF4-FFF2-40B4-BE49-F238E27FC236}">
                <a16:creationId xmlns:a16="http://schemas.microsoft.com/office/drawing/2014/main" id="{42354F0D-6F06-5FBE-D41C-5942C699A7B4}"/>
              </a:ext>
            </a:extLst>
          </p:cNvPr>
          <p:cNvSpPr>
            <a:spLocks noGrp="1"/>
          </p:cNvSpPr>
          <p:nvPr>
            <p:ph type="sldNum" sz="quarter" idx="11"/>
          </p:nvPr>
        </p:nvSpPr>
        <p:spPr/>
        <p:txBody>
          <a:bodyPr/>
          <a:lstStyle/>
          <a:p>
            <a:fld id="{F3829FEA-ED73-4A5A-98B4-E51078EAB7AC}" type="slidenum">
              <a:rPr lang="de-DE" smtClean="0">
                <a:latin typeface="+mj-lt"/>
              </a:rPr>
              <a:pPr/>
              <a:t>9</a:t>
            </a:fld>
            <a:endParaRPr lang="de-DE">
              <a:latin typeface="+mj-lt"/>
            </a:endParaRPr>
          </a:p>
        </p:txBody>
      </p:sp>
      <p:sp>
        <p:nvSpPr>
          <p:cNvPr id="6" name="Textplatzhalter 2">
            <a:extLst>
              <a:ext uri="{FF2B5EF4-FFF2-40B4-BE49-F238E27FC236}">
                <a16:creationId xmlns:a16="http://schemas.microsoft.com/office/drawing/2014/main" id="{328C20EF-7629-DE09-430D-96F372966E2C}"/>
              </a:ext>
            </a:extLst>
          </p:cNvPr>
          <p:cNvSpPr txBox="1">
            <a:spLocks/>
          </p:cNvSpPr>
          <p:nvPr/>
        </p:nvSpPr>
        <p:spPr>
          <a:xfrm>
            <a:off x="566844" y="2268305"/>
            <a:ext cx="6784974" cy="615553"/>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buFont typeface="Untitled Sans Light" panose="020B0303030202060203" pitchFamily="34" charset="0"/>
              <a:buNone/>
              <a:defRPr sz="4000" kern="1200">
                <a:solidFill>
                  <a:schemeClr val="bg1"/>
                </a:solidFill>
                <a:latin typeface="+mn-lt"/>
                <a:ea typeface="+mn-ea"/>
                <a:cs typeface="+mn-cs"/>
              </a:defRPr>
            </a:lvl1pPr>
            <a:lvl2pPr marL="179388" indent="0" algn="l" defTabSz="914400" rtl="0" eaLnBrk="1" latinLnBrk="0" hangingPunct="1">
              <a:lnSpc>
                <a:spcPct val="120000"/>
              </a:lnSpc>
              <a:spcBef>
                <a:spcPts val="0"/>
              </a:spcBef>
              <a:buFont typeface="Untitled Sans Light" panose="020B0303030202060203" pitchFamily="34" charset="0"/>
              <a:buNone/>
              <a:defRPr sz="4000" kern="1200">
                <a:solidFill>
                  <a:schemeClr val="bg1"/>
                </a:solidFill>
                <a:latin typeface="+mn-lt"/>
                <a:ea typeface="+mn-ea"/>
                <a:cs typeface="+mn-cs"/>
              </a:defRPr>
            </a:lvl2pPr>
            <a:lvl3pPr marL="360363" indent="0" algn="l" defTabSz="914400" rtl="0" eaLnBrk="1" latinLnBrk="0" hangingPunct="1">
              <a:lnSpc>
                <a:spcPct val="120000"/>
              </a:lnSpc>
              <a:spcBef>
                <a:spcPts val="0"/>
              </a:spcBef>
              <a:buSzPct val="90000"/>
              <a:buFont typeface="Wingdings" panose="05000000000000000000" pitchFamily="2" charset="2"/>
              <a:buNone/>
              <a:defRPr sz="4000" kern="1200">
                <a:solidFill>
                  <a:schemeClr val="bg1"/>
                </a:solidFill>
                <a:latin typeface="+mn-lt"/>
                <a:ea typeface="+mn-ea"/>
                <a:cs typeface="+mn-cs"/>
              </a:defRPr>
            </a:lvl3pPr>
            <a:lvl4pPr marL="1371600" indent="0" algn="l" defTabSz="914400" rtl="0" eaLnBrk="1" latinLnBrk="0" hangingPunct="1">
              <a:lnSpc>
                <a:spcPct val="120000"/>
              </a:lnSpc>
              <a:spcBef>
                <a:spcPts val="0"/>
              </a:spcBef>
              <a:buFont typeface="Arial" panose="020B0604020202020204" pitchFamily="34" charset="0"/>
              <a:buNone/>
              <a:defRPr sz="4000" kern="1200">
                <a:solidFill>
                  <a:schemeClr val="bg1"/>
                </a:solidFill>
                <a:latin typeface="Untitled Sans Light" panose="020B0303030202060203" pitchFamily="34" charset="0"/>
                <a:ea typeface="+mn-ea"/>
                <a:cs typeface="+mn-cs"/>
              </a:defRPr>
            </a:lvl4pPr>
            <a:lvl5pPr marL="1828800" indent="0" algn="l" defTabSz="914400" rtl="0" eaLnBrk="1" latinLnBrk="0" hangingPunct="1">
              <a:lnSpc>
                <a:spcPct val="120000"/>
              </a:lnSpc>
              <a:spcBef>
                <a:spcPts val="0"/>
              </a:spcBef>
              <a:buFont typeface="Arial" panose="020B0604020202020204" pitchFamily="34" charset="0"/>
              <a:buNone/>
              <a:defRPr sz="4000" kern="1200">
                <a:solidFill>
                  <a:schemeClr val="bg1"/>
                </a:solidFill>
                <a:latin typeface="Untitled Sans Light" panose="020B030303020206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latin typeface="+mj-lt"/>
              </a:rPr>
              <a:t>Plattformen.</a:t>
            </a:r>
          </a:p>
        </p:txBody>
      </p:sp>
      <p:sp>
        <p:nvSpPr>
          <p:cNvPr id="9" name="Rechteck 8">
            <a:extLst>
              <a:ext uri="{FF2B5EF4-FFF2-40B4-BE49-F238E27FC236}">
                <a16:creationId xmlns:a16="http://schemas.microsoft.com/office/drawing/2014/main" id="{9FAE3820-3CFD-FCA2-76A9-DB73385E17EB}"/>
              </a:ext>
            </a:extLst>
          </p:cNvPr>
          <p:cNvSpPr/>
          <p:nvPr/>
        </p:nvSpPr>
        <p:spPr>
          <a:xfrm>
            <a:off x="-128588" y="-694009"/>
            <a:ext cx="12585631" cy="7633403"/>
          </a:xfrm>
          <a:prstGeom prst="rect">
            <a:avLst/>
          </a:prstGeom>
          <a:gradFill>
            <a:gsLst>
              <a:gs pos="0">
                <a:srgbClr val="0B1A25"/>
              </a:gs>
              <a:gs pos="100000">
                <a:srgbClr val="003F6F"/>
              </a:gs>
              <a:gs pos="70000">
                <a:srgbClr val="093150"/>
              </a:gs>
              <a:gs pos="100000">
                <a:srgbClr val="003F6F"/>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9" descr="Ein Bild, das Schrift, Grafiken, Screenshot, Logo enthält.&#10;&#10;Beschreibung automatisch generiert.">
            <a:extLst>
              <a:ext uri="{FF2B5EF4-FFF2-40B4-BE49-F238E27FC236}">
                <a16:creationId xmlns:a16="http://schemas.microsoft.com/office/drawing/2014/main" id="{3D79F802-4993-293E-C1FF-6E8F47E6F1EB}"/>
              </a:ext>
            </a:extLst>
          </p:cNvPr>
          <p:cNvPicPr>
            <a:picLocks noChangeAspect="1"/>
          </p:cNvPicPr>
          <p:nvPr/>
        </p:nvPicPr>
        <p:blipFill>
          <a:blip r:embed="rId3"/>
          <a:stretch>
            <a:fillRect/>
          </a:stretch>
        </p:blipFill>
        <p:spPr>
          <a:xfrm>
            <a:off x="10076986" y="543364"/>
            <a:ext cx="1533732" cy="568800"/>
          </a:xfrm>
          <a:prstGeom prst="rect">
            <a:avLst/>
          </a:prstGeom>
        </p:spPr>
      </p:pic>
      <p:grpSp>
        <p:nvGrpSpPr>
          <p:cNvPr id="28" name="Gruppieren 27">
            <a:extLst>
              <a:ext uri="{FF2B5EF4-FFF2-40B4-BE49-F238E27FC236}">
                <a16:creationId xmlns:a16="http://schemas.microsoft.com/office/drawing/2014/main" id="{B5D572D6-AB36-0CE1-19DB-3EF0770E7292}"/>
              </a:ext>
            </a:extLst>
          </p:cNvPr>
          <p:cNvGrpSpPr/>
          <p:nvPr/>
        </p:nvGrpSpPr>
        <p:grpSpPr>
          <a:xfrm>
            <a:off x="7042941" y="1978842"/>
            <a:ext cx="5651518" cy="5176349"/>
            <a:chOff x="7012461" y="1978842"/>
            <a:chExt cx="5651518" cy="5176349"/>
          </a:xfrm>
        </p:grpSpPr>
        <p:pic>
          <p:nvPicPr>
            <p:cNvPr id="29" name="Grafik 28" descr="Ein Bild, das Text, Screenshot, Website, Webseite enthält.&#10;&#10;Automatisch generierte Beschreibung">
              <a:extLst>
                <a:ext uri="{FF2B5EF4-FFF2-40B4-BE49-F238E27FC236}">
                  <a16:creationId xmlns:a16="http://schemas.microsoft.com/office/drawing/2014/main" id="{3247DD47-121D-23C9-4FFF-2096D9C42B58}"/>
                </a:ext>
              </a:extLst>
            </p:cNvPr>
            <p:cNvPicPr>
              <a:picLocks noChangeAspect="1"/>
            </p:cNvPicPr>
            <p:nvPr/>
          </p:nvPicPr>
          <p:blipFill rotWithShape="1">
            <a:blip r:embed="rId4">
              <a:extLst>
                <a:ext uri="{28A0092B-C50C-407E-A947-70E740481C1C}">
                  <a14:useLocalDpi xmlns:a14="http://schemas.microsoft.com/office/drawing/2010/main" val="0"/>
                </a:ext>
              </a:extLst>
            </a:blip>
            <a:srcRect b="33976"/>
            <a:stretch/>
          </p:blipFill>
          <p:spPr>
            <a:xfrm>
              <a:off x="7208780" y="2226923"/>
              <a:ext cx="5285468" cy="3835873"/>
            </a:xfrm>
            <a:prstGeom prst="rect">
              <a:avLst/>
            </a:prstGeom>
          </p:spPr>
        </p:pic>
        <p:grpSp>
          <p:nvGrpSpPr>
            <p:cNvPr id="30" name="Google Shape;756;p49">
              <a:extLst>
                <a:ext uri="{FF2B5EF4-FFF2-40B4-BE49-F238E27FC236}">
                  <a16:creationId xmlns:a16="http://schemas.microsoft.com/office/drawing/2014/main" id="{339F831E-BEBC-79B2-FA9A-E555D87CB2D5}"/>
                </a:ext>
              </a:extLst>
            </p:cNvPr>
            <p:cNvGrpSpPr/>
            <p:nvPr/>
          </p:nvGrpSpPr>
          <p:grpSpPr>
            <a:xfrm>
              <a:off x="7012461" y="1978842"/>
              <a:ext cx="5651518" cy="5176349"/>
              <a:chOff x="3422351" y="731674"/>
              <a:chExt cx="4831540" cy="3674895"/>
            </a:xfrm>
          </p:grpSpPr>
          <p:sp>
            <p:nvSpPr>
              <p:cNvPr id="31" name="Google Shape;757;p49">
                <a:extLst>
                  <a:ext uri="{FF2B5EF4-FFF2-40B4-BE49-F238E27FC236}">
                    <a16:creationId xmlns:a16="http://schemas.microsoft.com/office/drawing/2014/main" id="{7790964A-00F0-AECD-5238-76C46C930AEA}"/>
                  </a:ext>
                </a:extLst>
              </p:cNvPr>
              <p:cNvSpPr/>
              <p:nvPr/>
            </p:nvSpPr>
            <p:spPr>
              <a:xfrm>
                <a:off x="5352325" y="4031650"/>
                <a:ext cx="958800" cy="255300"/>
              </a:xfrm>
              <a:prstGeom prst="rect">
                <a:avLst/>
              </a:pr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32" name="Google Shape;758;p49">
                <a:extLst>
                  <a:ext uri="{FF2B5EF4-FFF2-40B4-BE49-F238E27FC236}">
                    <a16:creationId xmlns:a16="http://schemas.microsoft.com/office/drawing/2014/main" id="{CB1A1B21-D8B4-9327-5254-5BBEA9C308AF}"/>
                  </a:ext>
                </a:extLst>
              </p:cNvPr>
              <p:cNvSpPr/>
              <p:nvPr/>
            </p:nvSpPr>
            <p:spPr>
              <a:xfrm flipH="1">
                <a:off x="6230475" y="3891500"/>
                <a:ext cx="399775" cy="489077"/>
              </a:xfrm>
              <a:custGeom>
                <a:avLst/>
                <a:gdLst/>
                <a:ahLst/>
                <a:cxnLst/>
                <a:rect l="l" t="t" r="r" b="b"/>
                <a:pathLst>
                  <a:path w="15991" h="18395" extrusionOk="0">
                    <a:moveTo>
                      <a:pt x="1325" y="15800"/>
                    </a:moveTo>
                    <a:cubicBezTo>
                      <a:pt x="2082" y="15098"/>
                      <a:pt x="4341" y="13522"/>
                      <a:pt x="5354" y="12612"/>
                    </a:cubicBezTo>
                    <a:cubicBezTo>
                      <a:pt x="6368" y="11702"/>
                      <a:pt x="6856" y="11031"/>
                      <a:pt x="7406" y="10341"/>
                    </a:cubicBezTo>
                    <a:cubicBezTo>
                      <a:pt x="7956" y="9651"/>
                      <a:pt x="8176" y="9340"/>
                      <a:pt x="8652" y="8473"/>
                    </a:cubicBezTo>
                    <a:cubicBezTo>
                      <a:pt x="9128" y="7606"/>
                      <a:pt x="9849" y="6220"/>
                      <a:pt x="10264" y="5139"/>
                    </a:cubicBezTo>
                    <a:cubicBezTo>
                      <a:pt x="10679" y="4058"/>
                      <a:pt x="10948" y="2702"/>
                      <a:pt x="11143" y="1988"/>
                    </a:cubicBezTo>
                    <a:cubicBezTo>
                      <a:pt x="11338" y="1274"/>
                      <a:pt x="11241" y="1067"/>
                      <a:pt x="11436" y="853"/>
                    </a:cubicBezTo>
                    <a:cubicBezTo>
                      <a:pt x="11631" y="639"/>
                      <a:pt x="11558" y="-845"/>
                      <a:pt x="12315" y="706"/>
                    </a:cubicBezTo>
                    <a:cubicBezTo>
                      <a:pt x="13072" y="2257"/>
                      <a:pt x="16162" y="7838"/>
                      <a:pt x="15979" y="10158"/>
                    </a:cubicBezTo>
                    <a:cubicBezTo>
                      <a:pt x="15796" y="12478"/>
                      <a:pt x="13756" y="13577"/>
                      <a:pt x="11216" y="14627"/>
                    </a:cubicBezTo>
                    <a:cubicBezTo>
                      <a:pt x="8676" y="15677"/>
                      <a:pt x="2461" y="15836"/>
                      <a:pt x="739" y="16459"/>
                    </a:cubicBezTo>
                    <a:cubicBezTo>
                      <a:pt x="-983" y="17082"/>
                      <a:pt x="873" y="18303"/>
                      <a:pt x="885" y="18364"/>
                    </a:cubicBezTo>
                    <a:cubicBezTo>
                      <a:pt x="897" y="18425"/>
                      <a:pt x="739" y="17252"/>
                      <a:pt x="812" y="16825"/>
                    </a:cubicBezTo>
                    <a:cubicBezTo>
                      <a:pt x="885" y="16398"/>
                      <a:pt x="568" y="16502"/>
                      <a:pt x="1325" y="15800"/>
                    </a:cubicBezTo>
                    <a:close/>
                  </a:path>
                </a:pathLst>
              </a:custGeom>
              <a:solidFill>
                <a:srgbClr val="A0A0A0"/>
              </a:solidFill>
              <a:ln>
                <a:noFill/>
              </a:ln>
            </p:spPr>
            <p:txBody>
              <a:bodyPr/>
              <a:lstStyle/>
              <a:p>
                <a:endParaRPr lang="de-DE"/>
              </a:p>
            </p:txBody>
          </p:sp>
          <p:sp>
            <p:nvSpPr>
              <p:cNvPr id="33" name="Google Shape;759;p49">
                <a:extLst>
                  <a:ext uri="{FF2B5EF4-FFF2-40B4-BE49-F238E27FC236}">
                    <a16:creationId xmlns:a16="http://schemas.microsoft.com/office/drawing/2014/main" id="{B9BE96F6-64E9-9928-284A-B54F7E14F099}"/>
                  </a:ext>
                </a:extLst>
              </p:cNvPr>
              <p:cNvSpPr/>
              <p:nvPr/>
            </p:nvSpPr>
            <p:spPr>
              <a:xfrm>
                <a:off x="5043518" y="3915067"/>
                <a:ext cx="399775" cy="459875"/>
              </a:xfrm>
              <a:custGeom>
                <a:avLst/>
                <a:gdLst/>
                <a:ahLst/>
                <a:cxnLst/>
                <a:rect l="l" t="t" r="r" b="b"/>
                <a:pathLst>
                  <a:path w="15991" h="18395" extrusionOk="0">
                    <a:moveTo>
                      <a:pt x="1325" y="15800"/>
                    </a:moveTo>
                    <a:cubicBezTo>
                      <a:pt x="2082" y="15098"/>
                      <a:pt x="4341" y="13522"/>
                      <a:pt x="5354" y="12612"/>
                    </a:cubicBezTo>
                    <a:cubicBezTo>
                      <a:pt x="6368" y="11702"/>
                      <a:pt x="6856" y="11031"/>
                      <a:pt x="7406" y="10341"/>
                    </a:cubicBezTo>
                    <a:cubicBezTo>
                      <a:pt x="7956" y="9651"/>
                      <a:pt x="8176" y="9340"/>
                      <a:pt x="8652" y="8473"/>
                    </a:cubicBezTo>
                    <a:cubicBezTo>
                      <a:pt x="9128" y="7606"/>
                      <a:pt x="9849" y="6220"/>
                      <a:pt x="10264" y="5139"/>
                    </a:cubicBezTo>
                    <a:cubicBezTo>
                      <a:pt x="10679" y="4058"/>
                      <a:pt x="10948" y="2702"/>
                      <a:pt x="11143" y="1988"/>
                    </a:cubicBezTo>
                    <a:cubicBezTo>
                      <a:pt x="11338" y="1274"/>
                      <a:pt x="11241" y="1067"/>
                      <a:pt x="11436" y="853"/>
                    </a:cubicBezTo>
                    <a:cubicBezTo>
                      <a:pt x="11631" y="639"/>
                      <a:pt x="11558" y="-845"/>
                      <a:pt x="12315" y="706"/>
                    </a:cubicBezTo>
                    <a:cubicBezTo>
                      <a:pt x="13072" y="2257"/>
                      <a:pt x="16162" y="7838"/>
                      <a:pt x="15979" y="10158"/>
                    </a:cubicBezTo>
                    <a:cubicBezTo>
                      <a:pt x="15796" y="12478"/>
                      <a:pt x="13756" y="13577"/>
                      <a:pt x="11216" y="14627"/>
                    </a:cubicBezTo>
                    <a:cubicBezTo>
                      <a:pt x="8676" y="15677"/>
                      <a:pt x="2461" y="15836"/>
                      <a:pt x="739" y="16459"/>
                    </a:cubicBezTo>
                    <a:cubicBezTo>
                      <a:pt x="-983" y="17082"/>
                      <a:pt x="873" y="18303"/>
                      <a:pt x="885" y="18364"/>
                    </a:cubicBezTo>
                    <a:cubicBezTo>
                      <a:pt x="897" y="18425"/>
                      <a:pt x="739" y="17252"/>
                      <a:pt x="812" y="16825"/>
                    </a:cubicBezTo>
                    <a:cubicBezTo>
                      <a:pt x="885" y="16398"/>
                      <a:pt x="568" y="16502"/>
                      <a:pt x="1325" y="15800"/>
                    </a:cubicBezTo>
                    <a:close/>
                  </a:path>
                </a:pathLst>
              </a:custGeom>
              <a:solidFill>
                <a:srgbClr val="A0A0A0"/>
              </a:solidFill>
              <a:ln>
                <a:noFill/>
              </a:ln>
            </p:spPr>
            <p:txBody>
              <a:bodyPr/>
              <a:lstStyle/>
              <a:p>
                <a:endParaRPr lang="de-DE"/>
              </a:p>
            </p:txBody>
          </p:sp>
          <p:sp>
            <p:nvSpPr>
              <p:cNvPr id="34" name="Google Shape;760;p49">
                <a:extLst>
                  <a:ext uri="{FF2B5EF4-FFF2-40B4-BE49-F238E27FC236}">
                    <a16:creationId xmlns:a16="http://schemas.microsoft.com/office/drawing/2014/main" id="{E08CB7FC-5525-E655-2633-479AF25440AB}"/>
                  </a:ext>
                </a:extLst>
              </p:cNvPr>
              <p:cNvSpPr/>
              <p:nvPr/>
            </p:nvSpPr>
            <p:spPr>
              <a:xfrm>
                <a:off x="5183975" y="3763900"/>
                <a:ext cx="87000" cy="25200"/>
              </a:xfrm>
              <a:prstGeom prst="rect">
                <a:avLst/>
              </a:pr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35" name="Google Shape;761;p49">
                <a:extLst>
                  <a:ext uri="{FF2B5EF4-FFF2-40B4-BE49-F238E27FC236}">
                    <a16:creationId xmlns:a16="http://schemas.microsoft.com/office/drawing/2014/main" id="{DFE2D96C-600E-16DB-80BE-C0F73F021911}"/>
                  </a:ext>
                </a:extLst>
              </p:cNvPr>
              <p:cNvSpPr/>
              <p:nvPr/>
            </p:nvSpPr>
            <p:spPr>
              <a:xfrm>
                <a:off x="5348300" y="3810000"/>
                <a:ext cx="981000" cy="185400"/>
              </a:xfrm>
              <a:prstGeom prst="rect">
                <a:avLst/>
              </a:prstGeom>
              <a:solidFill>
                <a:srgbClr val="A0A0A0"/>
              </a:solidFill>
              <a:ln w="9525" cap="flat" cmpd="sng">
                <a:solidFill>
                  <a:srgbClr val="666666"/>
                </a:solidFill>
                <a:prstDash val="solid"/>
                <a:round/>
                <a:headEnd type="none" w="sm" len="sm"/>
                <a:tailEnd type="none" w="sm" len="sm"/>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36" name="Google Shape;762;p49">
                <a:extLst>
                  <a:ext uri="{FF2B5EF4-FFF2-40B4-BE49-F238E27FC236}">
                    <a16:creationId xmlns:a16="http://schemas.microsoft.com/office/drawing/2014/main" id="{7FFCE72E-2504-6BC4-AFA3-F8F1EC37FB3D}"/>
                  </a:ext>
                </a:extLst>
              </p:cNvPr>
              <p:cNvSpPr/>
              <p:nvPr/>
            </p:nvSpPr>
            <p:spPr>
              <a:xfrm>
                <a:off x="5258919" y="4129800"/>
                <a:ext cx="29" cy="2369"/>
              </a:xfrm>
              <a:custGeom>
                <a:avLst/>
                <a:gdLst/>
                <a:ahLst/>
                <a:cxnLst/>
                <a:rect l="l" t="t" r="r" b="b"/>
                <a:pathLst>
                  <a:path w="1" h="82" extrusionOk="0">
                    <a:moveTo>
                      <a:pt x="1" y="81"/>
                    </a:moveTo>
                    <a:lnTo>
                      <a:pt x="1" y="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37" name="Google Shape;763;p49">
                <a:extLst>
                  <a:ext uri="{FF2B5EF4-FFF2-40B4-BE49-F238E27FC236}">
                    <a16:creationId xmlns:a16="http://schemas.microsoft.com/office/drawing/2014/main" id="{74E4E403-BE0E-9C48-3599-E8F351D23506}"/>
                  </a:ext>
                </a:extLst>
              </p:cNvPr>
              <p:cNvSpPr/>
              <p:nvPr/>
            </p:nvSpPr>
            <p:spPr>
              <a:xfrm>
                <a:off x="5223962" y="4174089"/>
                <a:ext cx="2369" cy="7020"/>
              </a:xfrm>
              <a:custGeom>
                <a:avLst/>
                <a:gdLst/>
                <a:ahLst/>
                <a:cxnLst/>
                <a:rect l="l" t="t" r="r" b="b"/>
                <a:pathLst>
                  <a:path w="82" h="243" extrusionOk="0">
                    <a:moveTo>
                      <a:pt x="1" y="243"/>
                    </a:moveTo>
                    <a:lnTo>
                      <a:pt x="81" y="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38" name="Google Shape;764;p49">
                <a:extLst>
                  <a:ext uri="{FF2B5EF4-FFF2-40B4-BE49-F238E27FC236}">
                    <a16:creationId xmlns:a16="http://schemas.microsoft.com/office/drawing/2014/main" id="{815ACDE3-1D9C-A7F3-0036-0AF996DFD0F7}"/>
                  </a:ext>
                </a:extLst>
              </p:cNvPr>
              <p:cNvSpPr/>
              <p:nvPr/>
            </p:nvSpPr>
            <p:spPr>
              <a:xfrm>
                <a:off x="6447569" y="4174089"/>
                <a:ext cx="4709" cy="4680"/>
              </a:xfrm>
              <a:custGeom>
                <a:avLst/>
                <a:gdLst/>
                <a:ahLst/>
                <a:cxnLst/>
                <a:rect l="l" t="t" r="r" b="b"/>
                <a:pathLst>
                  <a:path w="163" h="162" extrusionOk="0">
                    <a:moveTo>
                      <a:pt x="1" y="1"/>
                    </a:moveTo>
                    <a:lnTo>
                      <a:pt x="162" y="162"/>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39" name="Google Shape;765;p49">
                <a:extLst>
                  <a:ext uri="{FF2B5EF4-FFF2-40B4-BE49-F238E27FC236}">
                    <a16:creationId xmlns:a16="http://schemas.microsoft.com/office/drawing/2014/main" id="{E7A7F40F-901A-50E7-DC39-5E24861D30F1}"/>
                  </a:ext>
                </a:extLst>
              </p:cNvPr>
              <p:cNvSpPr/>
              <p:nvPr/>
            </p:nvSpPr>
            <p:spPr>
              <a:xfrm>
                <a:off x="6417292" y="4132140"/>
                <a:ext cx="29" cy="2369"/>
              </a:xfrm>
              <a:custGeom>
                <a:avLst/>
                <a:gdLst/>
                <a:ahLst/>
                <a:cxnLst/>
                <a:rect l="l" t="t" r="r" b="b"/>
                <a:pathLst>
                  <a:path w="1" h="82" extrusionOk="0">
                    <a:moveTo>
                      <a:pt x="0" y="0"/>
                    </a:moveTo>
                    <a:lnTo>
                      <a:pt x="0" y="8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0" name="Google Shape;766;p49">
                <a:extLst>
                  <a:ext uri="{FF2B5EF4-FFF2-40B4-BE49-F238E27FC236}">
                    <a16:creationId xmlns:a16="http://schemas.microsoft.com/office/drawing/2014/main" id="{D86C6FDF-6B62-E008-5212-1A53F9F09C4D}"/>
                  </a:ext>
                </a:extLst>
              </p:cNvPr>
              <p:cNvSpPr/>
              <p:nvPr/>
            </p:nvSpPr>
            <p:spPr>
              <a:xfrm>
                <a:off x="5028174" y="4248712"/>
                <a:ext cx="1619862" cy="97879"/>
              </a:xfrm>
              <a:custGeom>
                <a:avLst/>
                <a:gdLst/>
                <a:ahLst/>
                <a:cxnLst/>
                <a:rect l="l" t="t" r="r" b="b"/>
                <a:pathLst>
                  <a:path w="56070" h="3388" extrusionOk="0">
                    <a:moveTo>
                      <a:pt x="4435" y="1"/>
                    </a:moveTo>
                    <a:lnTo>
                      <a:pt x="4196" y="160"/>
                    </a:lnTo>
                    <a:lnTo>
                      <a:pt x="4200" y="160"/>
                    </a:lnTo>
                    <a:cubicBezTo>
                      <a:pt x="4279" y="105"/>
                      <a:pt x="4357" y="53"/>
                      <a:pt x="4435" y="1"/>
                    </a:cubicBezTo>
                    <a:close/>
                    <a:moveTo>
                      <a:pt x="51636" y="1"/>
                    </a:moveTo>
                    <a:cubicBezTo>
                      <a:pt x="51714" y="53"/>
                      <a:pt x="51792" y="105"/>
                      <a:pt x="51868" y="160"/>
                    </a:cubicBezTo>
                    <a:lnTo>
                      <a:pt x="51875" y="160"/>
                    </a:lnTo>
                    <a:lnTo>
                      <a:pt x="51636" y="1"/>
                    </a:lnTo>
                    <a:close/>
                    <a:moveTo>
                      <a:pt x="4200" y="160"/>
                    </a:moveTo>
                    <a:cubicBezTo>
                      <a:pt x="4037" y="275"/>
                      <a:pt x="3875" y="401"/>
                      <a:pt x="3712" y="564"/>
                    </a:cubicBezTo>
                    <a:lnTo>
                      <a:pt x="82" y="3226"/>
                    </a:lnTo>
                    <a:cubicBezTo>
                      <a:pt x="82" y="3307"/>
                      <a:pt x="1" y="3307"/>
                      <a:pt x="1" y="3387"/>
                    </a:cubicBezTo>
                    <a:lnTo>
                      <a:pt x="56070" y="3387"/>
                    </a:lnTo>
                    <a:lnTo>
                      <a:pt x="55909" y="3226"/>
                    </a:lnTo>
                    <a:lnTo>
                      <a:pt x="52278" y="564"/>
                    </a:lnTo>
                    <a:cubicBezTo>
                      <a:pt x="52170" y="401"/>
                      <a:pt x="52025" y="275"/>
                      <a:pt x="51868" y="160"/>
                    </a:cubicBezTo>
                    <a:close/>
                  </a:path>
                </a:pathLst>
              </a:custGeom>
              <a:solidFill>
                <a:srgbClr val="B7B7B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1" name="Google Shape;767;p49">
                <a:extLst>
                  <a:ext uri="{FF2B5EF4-FFF2-40B4-BE49-F238E27FC236}">
                    <a16:creationId xmlns:a16="http://schemas.microsoft.com/office/drawing/2014/main" id="{E37646D2-B3AF-5EDC-D43B-EA5F713EC75E}"/>
                  </a:ext>
                </a:extLst>
              </p:cNvPr>
              <p:cNvSpPr/>
              <p:nvPr/>
            </p:nvSpPr>
            <p:spPr>
              <a:xfrm>
                <a:off x="5282233" y="3789534"/>
                <a:ext cx="1109434" cy="300687"/>
              </a:xfrm>
              <a:custGeom>
                <a:avLst/>
                <a:gdLst/>
                <a:ahLst/>
                <a:cxnLst/>
                <a:rect l="l" t="t" r="r" b="b"/>
                <a:pathLst>
                  <a:path w="38402" h="10408" extrusionOk="0">
                    <a:moveTo>
                      <a:pt x="2017" y="0"/>
                    </a:moveTo>
                    <a:lnTo>
                      <a:pt x="1291" y="6616"/>
                    </a:lnTo>
                    <a:cubicBezTo>
                      <a:pt x="1049" y="7906"/>
                      <a:pt x="565" y="9197"/>
                      <a:pt x="0" y="10407"/>
                    </a:cubicBezTo>
                    <a:lnTo>
                      <a:pt x="81" y="10246"/>
                    </a:lnTo>
                    <a:lnTo>
                      <a:pt x="38327" y="10246"/>
                    </a:lnTo>
                    <a:cubicBezTo>
                      <a:pt x="37794" y="9083"/>
                      <a:pt x="37342" y="7849"/>
                      <a:pt x="37111" y="6616"/>
                    </a:cubicBezTo>
                    <a:lnTo>
                      <a:pt x="36465" y="565"/>
                    </a:lnTo>
                    <a:cubicBezTo>
                      <a:pt x="32270" y="3066"/>
                      <a:pt x="27591" y="4679"/>
                      <a:pt x="22670" y="5244"/>
                    </a:cubicBezTo>
                    <a:cubicBezTo>
                      <a:pt x="21500" y="5345"/>
                      <a:pt x="20331" y="5395"/>
                      <a:pt x="19163" y="5395"/>
                    </a:cubicBezTo>
                    <a:cubicBezTo>
                      <a:pt x="15661" y="5395"/>
                      <a:pt x="12182" y="4942"/>
                      <a:pt x="8794" y="4034"/>
                    </a:cubicBezTo>
                    <a:cubicBezTo>
                      <a:pt x="6777" y="3631"/>
                      <a:pt x="4841" y="2905"/>
                      <a:pt x="2985" y="1936"/>
                    </a:cubicBezTo>
                    <a:cubicBezTo>
                      <a:pt x="2824" y="1856"/>
                      <a:pt x="2743" y="1694"/>
                      <a:pt x="2582" y="1533"/>
                    </a:cubicBezTo>
                    <a:cubicBezTo>
                      <a:pt x="2421" y="1372"/>
                      <a:pt x="2098" y="1049"/>
                      <a:pt x="1937" y="807"/>
                    </a:cubicBezTo>
                    <a:lnTo>
                      <a:pt x="2017" y="0"/>
                    </a:lnTo>
                    <a:close/>
                    <a:moveTo>
                      <a:pt x="38327" y="10246"/>
                    </a:moveTo>
                    <a:cubicBezTo>
                      <a:pt x="38352" y="10300"/>
                      <a:pt x="38377" y="10354"/>
                      <a:pt x="38402" y="10407"/>
                    </a:cubicBezTo>
                    <a:cubicBezTo>
                      <a:pt x="38402" y="10327"/>
                      <a:pt x="38402" y="10246"/>
                      <a:pt x="38402" y="10246"/>
                    </a:cubicBezTo>
                    <a:close/>
                  </a:path>
                </a:pathLst>
              </a:cu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2" name="Google Shape;768;p49">
                <a:extLst>
                  <a:ext uri="{FF2B5EF4-FFF2-40B4-BE49-F238E27FC236}">
                    <a16:creationId xmlns:a16="http://schemas.microsoft.com/office/drawing/2014/main" id="{9369E0F9-2FF5-7441-F065-220E1A5AA629}"/>
                  </a:ext>
                </a:extLst>
              </p:cNvPr>
              <p:cNvSpPr/>
              <p:nvPr/>
            </p:nvSpPr>
            <p:spPr>
              <a:xfrm>
                <a:off x="6482526" y="4213697"/>
                <a:ext cx="9360" cy="9360"/>
              </a:xfrm>
              <a:custGeom>
                <a:avLst/>
                <a:gdLst/>
                <a:ahLst/>
                <a:cxnLst/>
                <a:rect l="l" t="t" r="r" b="b"/>
                <a:pathLst>
                  <a:path w="324" h="324" extrusionOk="0">
                    <a:moveTo>
                      <a:pt x="324" y="324"/>
                    </a:moveTo>
                    <a:lnTo>
                      <a:pt x="1" y="1"/>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3" name="Google Shape;769;p49">
                <a:extLst>
                  <a:ext uri="{FF2B5EF4-FFF2-40B4-BE49-F238E27FC236}">
                    <a16:creationId xmlns:a16="http://schemas.microsoft.com/office/drawing/2014/main" id="{D73DC911-A948-B55D-C33D-5FA8C738381D}"/>
                  </a:ext>
                </a:extLst>
              </p:cNvPr>
              <p:cNvSpPr/>
              <p:nvPr/>
            </p:nvSpPr>
            <p:spPr>
              <a:xfrm>
                <a:off x="5184353" y="4213697"/>
                <a:ext cx="9331" cy="9360"/>
              </a:xfrm>
              <a:custGeom>
                <a:avLst/>
                <a:gdLst/>
                <a:ahLst/>
                <a:cxnLst/>
                <a:rect l="l" t="t" r="r" b="b"/>
                <a:pathLst>
                  <a:path w="323" h="324" extrusionOk="0">
                    <a:moveTo>
                      <a:pt x="323" y="1"/>
                    </a:moveTo>
                    <a:lnTo>
                      <a:pt x="0" y="324"/>
                    </a:ln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4" name="Google Shape;770;p49">
                <a:extLst>
                  <a:ext uri="{FF2B5EF4-FFF2-40B4-BE49-F238E27FC236}">
                    <a16:creationId xmlns:a16="http://schemas.microsoft.com/office/drawing/2014/main" id="{2FD7B16F-011F-94BE-7057-CD81BFCBA5CC}"/>
                  </a:ext>
                </a:extLst>
              </p:cNvPr>
              <p:cNvSpPr/>
              <p:nvPr/>
            </p:nvSpPr>
            <p:spPr>
              <a:xfrm>
                <a:off x="5151708" y="4085512"/>
                <a:ext cx="1377475" cy="167851"/>
              </a:xfrm>
              <a:custGeom>
                <a:avLst/>
                <a:gdLst/>
                <a:ahLst/>
                <a:cxnLst/>
                <a:rect l="l" t="t" r="r" b="b"/>
                <a:pathLst>
                  <a:path w="47680" h="5810" extrusionOk="0">
                    <a:moveTo>
                      <a:pt x="4599" y="1"/>
                    </a:moveTo>
                    <a:lnTo>
                      <a:pt x="4518" y="162"/>
                    </a:lnTo>
                    <a:cubicBezTo>
                      <a:pt x="4276" y="646"/>
                      <a:pt x="3954" y="1130"/>
                      <a:pt x="3712" y="1614"/>
                    </a:cubicBezTo>
                    <a:cubicBezTo>
                      <a:pt x="3389" y="2179"/>
                      <a:pt x="2986" y="2663"/>
                      <a:pt x="2663" y="3067"/>
                    </a:cubicBezTo>
                    <a:lnTo>
                      <a:pt x="2502" y="3309"/>
                    </a:lnTo>
                    <a:cubicBezTo>
                      <a:pt x="2260" y="3631"/>
                      <a:pt x="1856" y="4035"/>
                      <a:pt x="1533" y="4438"/>
                    </a:cubicBezTo>
                    <a:lnTo>
                      <a:pt x="1211" y="4761"/>
                    </a:lnTo>
                    <a:cubicBezTo>
                      <a:pt x="888" y="5003"/>
                      <a:pt x="565" y="5325"/>
                      <a:pt x="162" y="5648"/>
                    </a:cubicBezTo>
                    <a:lnTo>
                      <a:pt x="1" y="5809"/>
                    </a:lnTo>
                    <a:lnTo>
                      <a:pt x="47679" y="5809"/>
                    </a:lnTo>
                    <a:lnTo>
                      <a:pt x="47437" y="5648"/>
                    </a:lnTo>
                    <a:cubicBezTo>
                      <a:pt x="47115" y="5325"/>
                      <a:pt x="46711" y="5003"/>
                      <a:pt x="46389" y="4761"/>
                    </a:cubicBezTo>
                    <a:lnTo>
                      <a:pt x="46066" y="4438"/>
                    </a:lnTo>
                    <a:cubicBezTo>
                      <a:pt x="45743" y="4035"/>
                      <a:pt x="45421" y="3631"/>
                      <a:pt x="45098" y="3228"/>
                    </a:cubicBezTo>
                    <a:lnTo>
                      <a:pt x="44937" y="3067"/>
                    </a:lnTo>
                    <a:cubicBezTo>
                      <a:pt x="44533" y="2663"/>
                      <a:pt x="44210" y="2098"/>
                      <a:pt x="43888" y="1614"/>
                    </a:cubicBezTo>
                    <a:cubicBezTo>
                      <a:pt x="43646" y="1130"/>
                      <a:pt x="43404" y="646"/>
                      <a:pt x="43081" y="162"/>
                    </a:cubicBezTo>
                    <a:cubicBezTo>
                      <a:pt x="43081" y="162"/>
                      <a:pt x="43081" y="82"/>
                      <a:pt x="43081" y="1"/>
                    </a:cubicBezTo>
                    <a:close/>
                  </a:path>
                </a:pathLst>
              </a:custGeom>
              <a:solidFill>
                <a:srgbClr val="A0A0A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5" name="Google Shape;771;p49">
                <a:extLst>
                  <a:ext uri="{FF2B5EF4-FFF2-40B4-BE49-F238E27FC236}">
                    <a16:creationId xmlns:a16="http://schemas.microsoft.com/office/drawing/2014/main" id="{63E39E2B-16C5-F17F-1C19-7EEF79CB6771}"/>
                  </a:ext>
                </a:extLst>
              </p:cNvPr>
              <p:cNvSpPr/>
              <p:nvPr/>
            </p:nvSpPr>
            <p:spPr>
              <a:xfrm>
                <a:off x="5016531" y="4343477"/>
                <a:ext cx="1645401" cy="63096"/>
              </a:xfrm>
              <a:custGeom>
                <a:avLst/>
                <a:gdLst/>
                <a:ahLst/>
                <a:cxnLst/>
                <a:rect l="l" t="t" r="r" b="b"/>
                <a:pathLst>
                  <a:path w="56954" h="2184" extrusionOk="0">
                    <a:moveTo>
                      <a:pt x="404" y="0"/>
                    </a:moveTo>
                    <a:cubicBezTo>
                      <a:pt x="162" y="161"/>
                      <a:pt x="81" y="323"/>
                      <a:pt x="1" y="565"/>
                    </a:cubicBezTo>
                    <a:cubicBezTo>
                      <a:pt x="1" y="645"/>
                      <a:pt x="1" y="726"/>
                      <a:pt x="1" y="887"/>
                    </a:cubicBezTo>
                    <a:cubicBezTo>
                      <a:pt x="81" y="1614"/>
                      <a:pt x="727" y="2178"/>
                      <a:pt x="1533" y="2178"/>
                    </a:cubicBezTo>
                    <a:lnTo>
                      <a:pt x="55424" y="2178"/>
                    </a:lnTo>
                    <a:cubicBezTo>
                      <a:pt x="55465" y="2182"/>
                      <a:pt x="55506" y="2184"/>
                      <a:pt x="55546" y="2184"/>
                    </a:cubicBezTo>
                    <a:cubicBezTo>
                      <a:pt x="56370" y="2184"/>
                      <a:pt x="56953" y="1411"/>
                      <a:pt x="56876" y="565"/>
                    </a:cubicBezTo>
                    <a:cubicBezTo>
                      <a:pt x="56796" y="323"/>
                      <a:pt x="56634" y="161"/>
                      <a:pt x="56473" y="0"/>
                    </a:cubicBezTo>
                    <a:close/>
                  </a:path>
                </a:pathLst>
              </a:custGeom>
              <a:solidFill>
                <a:srgbClr val="818284"/>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6" name="Google Shape;772;p49">
                <a:extLst>
                  <a:ext uri="{FF2B5EF4-FFF2-40B4-BE49-F238E27FC236}">
                    <a16:creationId xmlns:a16="http://schemas.microsoft.com/office/drawing/2014/main" id="{438139DC-DD5E-598E-91AD-78B9732C7326}"/>
                  </a:ext>
                </a:extLst>
              </p:cNvPr>
              <p:cNvSpPr/>
              <p:nvPr/>
            </p:nvSpPr>
            <p:spPr>
              <a:xfrm>
                <a:off x="5230953" y="785292"/>
                <a:ext cx="3022934" cy="3160162"/>
              </a:xfrm>
              <a:custGeom>
                <a:avLst/>
                <a:gdLst/>
                <a:ahLst/>
                <a:cxnLst/>
                <a:rect l="l" t="t" r="r" b="b"/>
                <a:pathLst>
                  <a:path w="104636" h="109386" extrusionOk="0">
                    <a:moveTo>
                      <a:pt x="103990" y="0"/>
                    </a:moveTo>
                    <a:lnTo>
                      <a:pt x="103264" y="726"/>
                    </a:lnTo>
                    <a:cubicBezTo>
                      <a:pt x="103506" y="1130"/>
                      <a:pt x="103668" y="1694"/>
                      <a:pt x="103668" y="2178"/>
                    </a:cubicBezTo>
                    <a:lnTo>
                      <a:pt x="103668" y="100036"/>
                    </a:lnTo>
                    <a:cubicBezTo>
                      <a:pt x="103668" y="101730"/>
                      <a:pt x="102296" y="103102"/>
                      <a:pt x="100602" y="103102"/>
                    </a:cubicBezTo>
                    <a:lnTo>
                      <a:pt x="969" y="103102"/>
                    </a:lnTo>
                    <a:lnTo>
                      <a:pt x="1" y="103989"/>
                    </a:lnTo>
                    <a:lnTo>
                      <a:pt x="3792" y="103989"/>
                    </a:lnTo>
                    <a:lnTo>
                      <a:pt x="3712" y="104796"/>
                    </a:lnTo>
                    <a:cubicBezTo>
                      <a:pt x="3873" y="105038"/>
                      <a:pt x="4115" y="105280"/>
                      <a:pt x="4357" y="105522"/>
                    </a:cubicBezTo>
                    <a:lnTo>
                      <a:pt x="4760" y="106006"/>
                    </a:lnTo>
                    <a:cubicBezTo>
                      <a:pt x="6616" y="106894"/>
                      <a:pt x="8552" y="107620"/>
                      <a:pt x="10569" y="108104"/>
                    </a:cubicBezTo>
                    <a:cubicBezTo>
                      <a:pt x="13943" y="108947"/>
                      <a:pt x="17407" y="109386"/>
                      <a:pt x="20893" y="109386"/>
                    </a:cubicBezTo>
                    <a:cubicBezTo>
                      <a:pt x="22076" y="109386"/>
                      <a:pt x="23260" y="109335"/>
                      <a:pt x="24445" y="109233"/>
                    </a:cubicBezTo>
                    <a:cubicBezTo>
                      <a:pt x="29366" y="108668"/>
                      <a:pt x="34045" y="107136"/>
                      <a:pt x="38321" y="104635"/>
                    </a:cubicBezTo>
                    <a:lnTo>
                      <a:pt x="38240" y="103989"/>
                    </a:lnTo>
                    <a:lnTo>
                      <a:pt x="100602" y="103989"/>
                    </a:lnTo>
                    <a:cubicBezTo>
                      <a:pt x="102780" y="103989"/>
                      <a:pt x="104636" y="102214"/>
                      <a:pt x="104636" y="99956"/>
                    </a:cubicBezTo>
                    <a:lnTo>
                      <a:pt x="104636" y="2178"/>
                    </a:lnTo>
                    <a:cubicBezTo>
                      <a:pt x="104636" y="1372"/>
                      <a:pt x="104394" y="646"/>
                      <a:pt x="103990" y="0"/>
                    </a:cubicBezTo>
                    <a:close/>
                  </a:path>
                </a:pathLst>
              </a:custGeom>
              <a:gradFill>
                <a:gsLst>
                  <a:gs pos="0">
                    <a:srgbClr val="A0A0A0"/>
                  </a:gs>
                  <a:gs pos="12000">
                    <a:srgbClr val="919192"/>
                  </a:gs>
                  <a:gs pos="100000">
                    <a:srgbClr val="818284"/>
                  </a:gs>
                </a:gsLst>
                <a:lin ang="16200038" scaled="0"/>
              </a:gra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7" name="Google Shape;773;p49">
                <a:extLst>
                  <a:ext uri="{FF2B5EF4-FFF2-40B4-BE49-F238E27FC236}">
                    <a16:creationId xmlns:a16="http://schemas.microsoft.com/office/drawing/2014/main" id="{66FD4FD4-8AB3-EEE9-EC39-307A4E0D0B53}"/>
                  </a:ext>
                </a:extLst>
              </p:cNvPr>
              <p:cNvSpPr/>
              <p:nvPr/>
            </p:nvSpPr>
            <p:spPr>
              <a:xfrm>
                <a:off x="5258919" y="803926"/>
                <a:ext cx="2967003" cy="2959983"/>
              </a:xfrm>
              <a:custGeom>
                <a:avLst/>
                <a:gdLst/>
                <a:ahLst/>
                <a:cxnLst/>
                <a:rect l="l" t="t" r="r" b="b"/>
                <a:pathLst>
                  <a:path w="102700" h="102457" extrusionOk="0">
                    <a:moveTo>
                      <a:pt x="102377" y="1"/>
                    </a:moveTo>
                    <a:lnTo>
                      <a:pt x="98101" y="4276"/>
                    </a:lnTo>
                    <a:lnTo>
                      <a:pt x="98101" y="97858"/>
                    </a:lnTo>
                    <a:lnTo>
                      <a:pt x="4519" y="97858"/>
                    </a:lnTo>
                    <a:lnTo>
                      <a:pt x="1" y="102457"/>
                    </a:lnTo>
                    <a:lnTo>
                      <a:pt x="99634" y="102457"/>
                    </a:lnTo>
                    <a:cubicBezTo>
                      <a:pt x="101328" y="102457"/>
                      <a:pt x="102700" y="101005"/>
                      <a:pt x="102700" y="99311"/>
                    </a:cubicBezTo>
                    <a:lnTo>
                      <a:pt x="102700" y="1533"/>
                    </a:lnTo>
                    <a:cubicBezTo>
                      <a:pt x="102700" y="969"/>
                      <a:pt x="102619" y="485"/>
                      <a:pt x="102377" y="1"/>
                    </a:cubicBezTo>
                    <a:close/>
                  </a:path>
                </a:pathLst>
              </a:custGeom>
              <a:solidFill>
                <a:srgbClr val="00000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8" name="Google Shape;774;p49">
                <a:extLst>
                  <a:ext uri="{FF2B5EF4-FFF2-40B4-BE49-F238E27FC236}">
                    <a16:creationId xmlns:a16="http://schemas.microsoft.com/office/drawing/2014/main" id="{AD2FB1D3-E295-0645-5760-57AFB53A37B6}"/>
                  </a:ext>
                </a:extLst>
              </p:cNvPr>
              <p:cNvSpPr/>
              <p:nvPr/>
            </p:nvSpPr>
            <p:spPr>
              <a:xfrm>
                <a:off x="3422350" y="731675"/>
                <a:ext cx="4812901" cy="3057819"/>
              </a:xfrm>
              <a:custGeom>
                <a:avLst/>
                <a:gdLst/>
                <a:ahLst/>
                <a:cxnLst/>
                <a:rect l="l" t="t" r="r" b="b"/>
                <a:pathLst>
                  <a:path w="166594" h="105926" extrusionOk="0">
                    <a:moveTo>
                      <a:pt x="4034" y="1"/>
                    </a:moveTo>
                    <a:cubicBezTo>
                      <a:pt x="1775" y="1"/>
                      <a:pt x="0" y="1856"/>
                      <a:pt x="0" y="4034"/>
                    </a:cubicBezTo>
                    <a:lnTo>
                      <a:pt x="0" y="101892"/>
                    </a:lnTo>
                    <a:cubicBezTo>
                      <a:pt x="0" y="104070"/>
                      <a:pt x="1775" y="105926"/>
                      <a:pt x="4034" y="105926"/>
                    </a:cubicBezTo>
                    <a:lnTo>
                      <a:pt x="62604" y="105926"/>
                    </a:lnTo>
                    <a:lnTo>
                      <a:pt x="63491" y="105039"/>
                    </a:lnTo>
                    <a:lnTo>
                      <a:pt x="4034" y="104958"/>
                    </a:lnTo>
                    <a:cubicBezTo>
                      <a:pt x="2340" y="104958"/>
                      <a:pt x="968" y="103506"/>
                      <a:pt x="968" y="101812"/>
                    </a:cubicBezTo>
                    <a:lnTo>
                      <a:pt x="968" y="4034"/>
                    </a:lnTo>
                    <a:cubicBezTo>
                      <a:pt x="968" y="2340"/>
                      <a:pt x="2340" y="969"/>
                      <a:pt x="4034" y="969"/>
                    </a:cubicBezTo>
                    <a:lnTo>
                      <a:pt x="163205" y="969"/>
                    </a:lnTo>
                    <a:cubicBezTo>
                      <a:pt x="164334" y="969"/>
                      <a:pt x="165383" y="1534"/>
                      <a:pt x="165867" y="2582"/>
                    </a:cubicBezTo>
                    <a:lnTo>
                      <a:pt x="166593" y="1856"/>
                    </a:lnTo>
                    <a:cubicBezTo>
                      <a:pt x="165787" y="727"/>
                      <a:pt x="164577" y="1"/>
                      <a:pt x="163205" y="1"/>
                    </a:cubicBezTo>
                    <a:close/>
                  </a:path>
                </a:pathLst>
              </a:custGeom>
              <a:solidFill>
                <a:srgbClr val="A5A6A7"/>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49" name="Google Shape;775;p49">
                <a:extLst>
                  <a:ext uri="{FF2B5EF4-FFF2-40B4-BE49-F238E27FC236}">
                    <a16:creationId xmlns:a16="http://schemas.microsoft.com/office/drawing/2014/main" id="{A0670D94-A26E-3568-D62D-69B2233D7D68}"/>
                  </a:ext>
                </a:extLst>
              </p:cNvPr>
              <p:cNvSpPr/>
              <p:nvPr/>
            </p:nvSpPr>
            <p:spPr>
              <a:xfrm>
                <a:off x="8071400" y="760800"/>
                <a:ext cx="153000" cy="153000"/>
              </a:xfrm>
              <a:prstGeom prst="ellipse">
                <a:avLst/>
              </a:prstGeom>
              <a:solidFill>
                <a:srgbClr val="00000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sz="700"/>
              </a:p>
            </p:txBody>
          </p:sp>
          <p:sp>
            <p:nvSpPr>
              <p:cNvPr id="50" name="Google Shape;776;p49">
                <a:extLst>
                  <a:ext uri="{FF2B5EF4-FFF2-40B4-BE49-F238E27FC236}">
                    <a16:creationId xmlns:a16="http://schemas.microsoft.com/office/drawing/2014/main" id="{50F79683-C233-5CBA-B20A-FBA4D01BDC87}"/>
                  </a:ext>
                </a:extLst>
              </p:cNvPr>
              <p:cNvSpPr/>
              <p:nvPr/>
            </p:nvSpPr>
            <p:spPr>
              <a:xfrm>
                <a:off x="3447978" y="759551"/>
                <a:ext cx="4766301" cy="3004358"/>
              </a:xfrm>
              <a:custGeom>
                <a:avLst/>
                <a:gdLst/>
                <a:ahLst/>
                <a:cxnLst/>
                <a:rect l="l" t="t" r="r" b="b"/>
                <a:pathLst>
                  <a:path w="164981" h="103993" extrusionOk="0">
                    <a:moveTo>
                      <a:pt x="82691" y="1273"/>
                    </a:moveTo>
                    <a:cubicBezTo>
                      <a:pt x="83178" y="1273"/>
                      <a:pt x="83660" y="1635"/>
                      <a:pt x="83660" y="2182"/>
                    </a:cubicBezTo>
                    <a:cubicBezTo>
                      <a:pt x="83660" y="2666"/>
                      <a:pt x="83257" y="3150"/>
                      <a:pt x="82692" y="3150"/>
                    </a:cubicBezTo>
                    <a:cubicBezTo>
                      <a:pt x="81885" y="3069"/>
                      <a:pt x="81482" y="2101"/>
                      <a:pt x="82047" y="1537"/>
                    </a:cubicBezTo>
                    <a:cubicBezTo>
                      <a:pt x="82228" y="1355"/>
                      <a:pt x="82460" y="1273"/>
                      <a:pt x="82691" y="1273"/>
                    </a:cubicBezTo>
                    <a:close/>
                    <a:moveTo>
                      <a:pt x="3012" y="1"/>
                    </a:moveTo>
                    <a:cubicBezTo>
                      <a:pt x="1376" y="1"/>
                      <a:pt x="0" y="1420"/>
                      <a:pt x="0" y="3069"/>
                    </a:cubicBezTo>
                    <a:lnTo>
                      <a:pt x="0" y="100927"/>
                    </a:lnTo>
                    <a:cubicBezTo>
                      <a:pt x="81" y="102621"/>
                      <a:pt x="1453" y="103993"/>
                      <a:pt x="3147" y="103993"/>
                    </a:cubicBezTo>
                    <a:lnTo>
                      <a:pt x="62685" y="103993"/>
                    </a:lnTo>
                    <a:lnTo>
                      <a:pt x="67203" y="99394"/>
                    </a:lnTo>
                    <a:lnTo>
                      <a:pt x="4599" y="99394"/>
                    </a:lnTo>
                    <a:lnTo>
                      <a:pt x="4599" y="4602"/>
                    </a:lnTo>
                    <a:lnTo>
                      <a:pt x="160785" y="4602"/>
                    </a:lnTo>
                    <a:lnTo>
                      <a:pt x="160785" y="5812"/>
                    </a:lnTo>
                    <a:lnTo>
                      <a:pt x="164980" y="1617"/>
                    </a:lnTo>
                    <a:cubicBezTo>
                      <a:pt x="164496" y="649"/>
                      <a:pt x="163447" y="4"/>
                      <a:pt x="162318" y="4"/>
                    </a:cubicBezTo>
                    <a:lnTo>
                      <a:pt x="3147" y="4"/>
                    </a:lnTo>
                    <a:cubicBezTo>
                      <a:pt x="3102" y="2"/>
                      <a:pt x="3057" y="1"/>
                      <a:pt x="3012" y="1"/>
                    </a:cubicBezTo>
                    <a:close/>
                  </a:path>
                </a:pathLst>
              </a:custGeom>
              <a:solidFill>
                <a:srgbClr val="20202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51" name="Google Shape;777;p49">
                <a:extLst>
                  <a:ext uri="{FF2B5EF4-FFF2-40B4-BE49-F238E27FC236}">
                    <a16:creationId xmlns:a16="http://schemas.microsoft.com/office/drawing/2014/main" id="{46765E61-B33D-763F-09BE-236DDC1D5A94}"/>
                  </a:ext>
                </a:extLst>
              </p:cNvPr>
              <p:cNvSpPr/>
              <p:nvPr/>
            </p:nvSpPr>
            <p:spPr>
              <a:xfrm>
                <a:off x="5801964" y="796934"/>
                <a:ext cx="62980" cy="51915"/>
              </a:xfrm>
              <a:custGeom>
                <a:avLst/>
                <a:gdLst/>
                <a:ahLst/>
                <a:cxnLst/>
                <a:rect l="l" t="t" r="r" b="b"/>
                <a:pathLst>
                  <a:path w="2180" h="1797" extrusionOk="0">
                    <a:moveTo>
                      <a:pt x="1256" y="171"/>
                    </a:moveTo>
                    <a:cubicBezTo>
                      <a:pt x="1614" y="171"/>
                      <a:pt x="1937" y="458"/>
                      <a:pt x="1937" y="888"/>
                    </a:cubicBezTo>
                    <a:cubicBezTo>
                      <a:pt x="1937" y="1291"/>
                      <a:pt x="1614" y="1614"/>
                      <a:pt x="1211" y="1614"/>
                    </a:cubicBezTo>
                    <a:cubicBezTo>
                      <a:pt x="566" y="1614"/>
                      <a:pt x="324" y="807"/>
                      <a:pt x="727" y="404"/>
                    </a:cubicBezTo>
                    <a:cubicBezTo>
                      <a:pt x="888" y="243"/>
                      <a:pt x="1077" y="171"/>
                      <a:pt x="1256" y="171"/>
                    </a:cubicBezTo>
                    <a:close/>
                    <a:moveTo>
                      <a:pt x="1211" y="1"/>
                    </a:moveTo>
                    <a:cubicBezTo>
                      <a:pt x="404" y="1"/>
                      <a:pt x="1" y="969"/>
                      <a:pt x="566" y="1533"/>
                    </a:cubicBezTo>
                    <a:cubicBezTo>
                      <a:pt x="747" y="1715"/>
                      <a:pt x="979" y="1797"/>
                      <a:pt x="1210" y="1797"/>
                    </a:cubicBezTo>
                    <a:cubicBezTo>
                      <a:pt x="1697" y="1797"/>
                      <a:pt x="2179" y="1435"/>
                      <a:pt x="2179" y="888"/>
                    </a:cubicBezTo>
                    <a:cubicBezTo>
                      <a:pt x="2179" y="404"/>
                      <a:pt x="1776" y="1"/>
                      <a:pt x="1211" y="1"/>
                    </a:cubicBezTo>
                    <a:close/>
                  </a:path>
                </a:pathLst>
              </a:custGeom>
              <a:solidFill>
                <a:srgbClr val="FFFFFF"/>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78" name="Google Shape;778;p49">
                <a:extLst>
                  <a:ext uri="{FF2B5EF4-FFF2-40B4-BE49-F238E27FC236}">
                    <a16:creationId xmlns:a16="http://schemas.microsoft.com/office/drawing/2014/main" id="{4D8A5D89-6A2B-BDA4-C63B-709C3ABBA493}"/>
                  </a:ext>
                </a:extLst>
              </p:cNvPr>
              <p:cNvSpPr/>
              <p:nvPr/>
            </p:nvSpPr>
            <p:spPr>
              <a:xfrm>
                <a:off x="5818287" y="801615"/>
                <a:ext cx="39666" cy="41977"/>
              </a:xfrm>
              <a:custGeom>
                <a:avLst/>
                <a:gdLst/>
                <a:ahLst/>
                <a:cxnLst/>
                <a:rect l="l" t="t" r="r" b="b"/>
                <a:pathLst>
                  <a:path w="1373" h="1453" extrusionOk="0">
                    <a:moveTo>
                      <a:pt x="646" y="0"/>
                    </a:moveTo>
                    <a:cubicBezTo>
                      <a:pt x="243" y="0"/>
                      <a:pt x="1" y="323"/>
                      <a:pt x="1" y="726"/>
                    </a:cubicBezTo>
                    <a:cubicBezTo>
                      <a:pt x="1" y="1129"/>
                      <a:pt x="243" y="1452"/>
                      <a:pt x="646" y="1452"/>
                    </a:cubicBezTo>
                    <a:cubicBezTo>
                      <a:pt x="1049" y="1452"/>
                      <a:pt x="1372" y="1129"/>
                      <a:pt x="1372" y="726"/>
                    </a:cubicBezTo>
                    <a:cubicBezTo>
                      <a:pt x="1372" y="323"/>
                      <a:pt x="1049" y="0"/>
                      <a:pt x="646" y="0"/>
                    </a:cubicBezTo>
                    <a:close/>
                  </a:path>
                </a:pathLst>
              </a:custGeom>
              <a:solidFill>
                <a:srgbClr val="202020"/>
              </a:soli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sp>
            <p:nvSpPr>
              <p:cNvPr id="79" name="Google Shape;779;p49">
                <a:extLst>
                  <a:ext uri="{FF2B5EF4-FFF2-40B4-BE49-F238E27FC236}">
                    <a16:creationId xmlns:a16="http://schemas.microsoft.com/office/drawing/2014/main" id="{E18A246B-A3CF-743B-D085-6B3A1026CA44}"/>
                  </a:ext>
                </a:extLst>
              </p:cNvPr>
              <p:cNvSpPr/>
              <p:nvPr/>
            </p:nvSpPr>
            <p:spPr>
              <a:xfrm>
                <a:off x="5338300" y="3789525"/>
                <a:ext cx="1000500" cy="185400"/>
              </a:xfrm>
              <a:prstGeom prst="rect">
                <a:avLst/>
              </a:prstGeom>
              <a:gradFill>
                <a:gsLst>
                  <a:gs pos="0">
                    <a:srgbClr val="A0A0A0"/>
                  </a:gs>
                  <a:gs pos="36000">
                    <a:srgbClr val="919192"/>
                  </a:gs>
                  <a:gs pos="100000">
                    <a:srgbClr val="818284"/>
                  </a:gs>
                </a:gsLst>
                <a:lin ang="16200038" scaled="0"/>
              </a:gradFill>
              <a:ln>
                <a:noFill/>
              </a:ln>
            </p:spPr>
            <p:txBody>
              <a:bodyPr spcFirstLastPara="1" wrap="square" lIns="48200" tIns="48200" rIns="48200" bIns="48200" anchor="ctr" anchorCtr="0">
                <a:noAutofit/>
              </a:bodyPr>
              <a:lstStyle/>
              <a:p>
                <a:pPr marL="0" lvl="0" indent="0" algn="l" rtl="0">
                  <a:spcBef>
                    <a:spcPts val="0"/>
                  </a:spcBef>
                  <a:spcAft>
                    <a:spcPts val="0"/>
                  </a:spcAft>
                  <a:buNone/>
                </a:pPr>
                <a:endParaRPr/>
              </a:p>
            </p:txBody>
          </p:sp>
        </p:grpSp>
      </p:grpSp>
      <p:sp>
        <p:nvSpPr>
          <p:cNvPr id="11" name="Textfeld 10">
            <a:extLst>
              <a:ext uri="{FF2B5EF4-FFF2-40B4-BE49-F238E27FC236}">
                <a16:creationId xmlns:a16="http://schemas.microsoft.com/office/drawing/2014/main" id="{454F37E0-7D81-9F76-D449-9AB337BEE84F}"/>
              </a:ext>
            </a:extLst>
          </p:cNvPr>
          <p:cNvSpPr txBox="1"/>
          <p:nvPr/>
        </p:nvSpPr>
        <p:spPr>
          <a:xfrm>
            <a:off x="-665757" y="3200400"/>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a:p>
        </p:txBody>
      </p:sp>
      <p:sp>
        <p:nvSpPr>
          <p:cNvPr id="12" name="Textfeld 11">
            <a:extLst>
              <a:ext uri="{FF2B5EF4-FFF2-40B4-BE49-F238E27FC236}">
                <a16:creationId xmlns:a16="http://schemas.microsoft.com/office/drawing/2014/main" id="{853BBBF6-BB82-CDEF-759C-44F6768C7B9B}"/>
              </a:ext>
            </a:extLst>
          </p:cNvPr>
          <p:cNvSpPr txBox="1"/>
          <p:nvPr/>
        </p:nvSpPr>
        <p:spPr>
          <a:xfrm>
            <a:off x="-665757" y="3200400"/>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en-US"/>
          </a:p>
        </p:txBody>
      </p:sp>
      <p:sp>
        <p:nvSpPr>
          <p:cNvPr id="14" name="Textplatzhalter 2">
            <a:extLst>
              <a:ext uri="{FF2B5EF4-FFF2-40B4-BE49-F238E27FC236}">
                <a16:creationId xmlns:a16="http://schemas.microsoft.com/office/drawing/2014/main" id="{BD4B07F7-54B4-117C-A54B-157F76389CB3}"/>
              </a:ext>
            </a:extLst>
          </p:cNvPr>
          <p:cNvSpPr txBox="1">
            <a:spLocks/>
          </p:cNvSpPr>
          <p:nvPr/>
        </p:nvSpPr>
        <p:spPr>
          <a:xfrm>
            <a:off x="858644" y="2135156"/>
            <a:ext cx="5886252" cy="887473"/>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a:solidFill>
                  <a:srgbClr val="0197D9"/>
                </a:solidFill>
                <a:latin typeface="Inter" panose="02000503000000020004" pitchFamily="2" charset="0"/>
                <a:ea typeface="Inter" panose="02000503000000020004" pitchFamily="2" charset="0"/>
                <a:cs typeface="Space Grotesk" pitchFamily="2" charset="77"/>
              </a:rPr>
              <a:t>Unser Angebot</a:t>
            </a:r>
            <a:br>
              <a:rPr lang="de-DE" sz="1800">
                <a:solidFill>
                  <a:srgbClr val="0197D9"/>
                </a:solidFill>
                <a:latin typeface="+mn-lt"/>
                <a:ea typeface="Inter" panose="02000503000000020004" pitchFamily="2" charset="0"/>
                <a:cs typeface="Space Grotesk" pitchFamily="2" charset="77"/>
              </a:rPr>
            </a:br>
            <a:r>
              <a:rPr lang="de-DE" sz="2400">
                <a:solidFill>
                  <a:srgbClr val="0197D9"/>
                </a:solidFill>
                <a:latin typeface="Inter" panose="02000503000000020004" pitchFamily="2" charset="0"/>
                <a:ea typeface="Inter" panose="02000503000000020004" pitchFamily="2" charset="0"/>
                <a:cs typeface="Space Grotesk" pitchFamily="2" charset="77"/>
              </a:rPr>
              <a:t>Eine eigene Open-Data-Präsenz – individualisiert, kostenlos, integriert mit unserer Infrastruktur.</a:t>
            </a:r>
            <a:r>
              <a:rPr lang="de-DE" sz="2400" b="1">
                <a:solidFill>
                  <a:srgbClr val="0197D9"/>
                </a:solidFill>
                <a:latin typeface="+mn-lt"/>
                <a:ea typeface="Inter" panose="02000503000000020004" pitchFamily="2" charset="0"/>
                <a:cs typeface="Space Grotesk" pitchFamily="2" charset="77"/>
              </a:rPr>
              <a:t> </a:t>
            </a:r>
            <a:endParaRPr lang="de-DE" sz="600" b="1">
              <a:solidFill>
                <a:srgbClr val="0197D9"/>
              </a:solidFill>
              <a:latin typeface="+mn-lt"/>
              <a:ea typeface="Inter" panose="02000503000000020004" pitchFamily="2" charset="0"/>
            </a:endParaRPr>
          </a:p>
        </p:txBody>
      </p:sp>
      <p:sp>
        <p:nvSpPr>
          <p:cNvPr id="15" name="Textplatzhalter 2">
            <a:extLst>
              <a:ext uri="{FF2B5EF4-FFF2-40B4-BE49-F238E27FC236}">
                <a16:creationId xmlns:a16="http://schemas.microsoft.com/office/drawing/2014/main" id="{F3C57456-5807-209F-9B83-435CAD44C9C4}"/>
              </a:ext>
            </a:extLst>
          </p:cNvPr>
          <p:cNvSpPr txBox="1">
            <a:spLocks/>
          </p:cNvSpPr>
          <p:nvPr/>
        </p:nvSpPr>
        <p:spPr>
          <a:xfrm>
            <a:off x="2266700" y="4534224"/>
            <a:ext cx="3621004" cy="887473"/>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2000" b="1">
                <a:solidFill>
                  <a:srgbClr val="015D85"/>
                </a:solidFill>
                <a:latin typeface="Inter" panose="02000503000000020004" pitchFamily="2" charset="0"/>
                <a:ea typeface="Inter" panose="02000503000000020004" pitchFamily="2" charset="0"/>
                <a:cs typeface="Space Grotesk" pitchFamily="2" charset="77"/>
              </a:rPr>
              <a:t>.</a:t>
            </a:r>
            <a:r>
              <a:rPr lang="de-DE" sz="2000" b="1">
                <a:solidFill>
                  <a:schemeClr val="bg1"/>
                </a:solidFill>
                <a:latin typeface="Inter" panose="02000503000000020004" pitchFamily="2" charset="0"/>
                <a:ea typeface="Inter" panose="02000503000000020004" pitchFamily="2" charset="0"/>
                <a:cs typeface="Space Grotesk" pitchFamily="2" charset="77"/>
              </a:rPr>
              <a:t> </a:t>
            </a:r>
            <a:r>
              <a:rPr lang="de-DE" sz="2000" b="1" err="1">
                <a:solidFill>
                  <a:schemeClr val="bg1"/>
                </a:solidFill>
                <a:latin typeface="Inter" panose="02000503000000020004" pitchFamily="2" charset="0"/>
                <a:ea typeface="Inter" panose="02000503000000020004" pitchFamily="2" charset="0"/>
                <a:cs typeface="Space Grotesk" pitchFamily="2" charset="77"/>
              </a:rPr>
              <a:t>by</a:t>
            </a:r>
            <a:r>
              <a:rPr lang="de-DE" sz="2000" b="1">
                <a:solidFill>
                  <a:schemeClr val="bg1"/>
                </a:solidFill>
                <a:latin typeface="Inter" panose="02000503000000020004" pitchFamily="2" charset="0"/>
                <a:ea typeface="Inter" panose="02000503000000020004" pitchFamily="2" charset="0"/>
                <a:cs typeface="Space Grotesk" pitchFamily="2" charset="77"/>
              </a:rPr>
              <a:t> </a:t>
            </a:r>
            <a:r>
              <a:rPr lang="de-DE" sz="2000" b="1" err="1">
                <a:solidFill>
                  <a:schemeClr val="bg1"/>
                </a:solidFill>
                <a:latin typeface="Inter" panose="02000503000000020004" pitchFamily="2" charset="0"/>
                <a:ea typeface="Inter" panose="02000503000000020004" pitchFamily="2" charset="0"/>
                <a:cs typeface="Space Grotesk" pitchFamily="2" charset="77"/>
              </a:rPr>
              <a:t>data</a:t>
            </a:r>
            <a:r>
              <a:rPr lang="de-DE" sz="2000" b="1">
                <a:solidFill>
                  <a:schemeClr val="bg1"/>
                </a:solidFill>
                <a:latin typeface="Inter" panose="02000503000000020004" pitchFamily="2" charset="0"/>
                <a:ea typeface="Inter" panose="02000503000000020004" pitchFamily="2" charset="0"/>
                <a:cs typeface="Space Grotesk" pitchFamily="2" charset="77"/>
              </a:rPr>
              <a:t> </a:t>
            </a:r>
            <a:r>
              <a:rPr lang="de-DE" sz="2000" b="1">
                <a:solidFill>
                  <a:srgbClr val="015D85"/>
                </a:solidFill>
                <a:latin typeface="Inter" panose="02000503000000020004" pitchFamily="2" charset="0"/>
                <a:ea typeface="Inter" panose="02000503000000020004" pitchFamily="2" charset="0"/>
                <a:cs typeface="Space Grotesk" pitchFamily="2" charset="77"/>
              </a:rPr>
              <a:t>. de</a:t>
            </a:r>
            <a:endParaRPr lang="de-DE" sz="2000" b="1">
              <a:solidFill>
                <a:srgbClr val="015D85"/>
              </a:solidFill>
              <a:latin typeface="Inter" panose="02000503000000020004" pitchFamily="2" charset="0"/>
              <a:ea typeface="Inter" panose="02000503000000020004" pitchFamily="2" charset="0"/>
            </a:endParaRPr>
          </a:p>
        </p:txBody>
      </p:sp>
      <p:sp>
        <p:nvSpPr>
          <p:cNvPr id="3" name="Textplatzhalter 2">
            <a:extLst>
              <a:ext uri="{FF2B5EF4-FFF2-40B4-BE49-F238E27FC236}">
                <a16:creationId xmlns:a16="http://schemas.microsoft.com/office/drawing/2014/main" id="{73011B60-A90B-81EF-2CA0-6CDCC88BED73}"/>
              </a:ext>
            </a:extLst>
          </p:cNvPr>
          <p:cNvSpPr txBox="1">
            <a:spLocks/>
          </p:cNvSpPr>
          <p:nvPr/>
        </p:nvSpPr>
        <p:spPr>
          <a:xfrm>
            <a:off x="858644" y="3924278"/>
            <a:ext cx="3621004" cy="2521124"/>
          </a:xfrm>
          <a:prstGeom prst="rect">
            <a:avLst/>
          </a:prstGeom>
        </p:spPr>
        <p:txBody>
          <a:bodyPr vert="horz" lIns="0" tIns="0" rIns="0" bIns="0" rtlCol="0" anchor="t">
            <a:noAutofit/>
          </a:bodyPr>
          <a:lstStyle>
            <a:defPPr>
              <a:defRPr lang="de-DE"/>
            </a:defPPr>
            <a:lvl1pPr marL="0" algn="l" defTabSz="914400" rtl="0" eaLnBrk="1" latinLnBrk="0" hangingPunct="1">
              <a:defRPr sz="800" kern="1200">
                <a:solidFill>
                  <a:schemeClr val="tx1"/>
                </a:solidFill>
                <a:latin typeface="Untitled Sans Light" panose="020B030303020206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2000" b="1">
                <a:solidFill>
                  <a:srgbClr val="FFFFFF">
                    <a:alpha val="29804"/>
                  </a:srgbClr>
                </a:solidFill>
                <a:latin typeface="Inter" panose="02000503000000020004" pitchFamily="2" charset="0"/>
                <a:ea typeface="Inter" panose="02000503000000020004" pitchFamily="2" charset="0"/>
                <a:cs typeface="Space Grotesk" pitchFamily="2" charset="77"/>
              </a:rPr>
              <a:t>Amberg</a:t>
            </a:r>
          </a:p>
          <a:p>
            <a:r>
              <a:rPr lang="de-DE" sz="2000" b="1">
                <a:solidFill>
                  <a:srgbClr val="FFFFFF">
                    <a:alpha val="40000"/>
                  </a:srgbClr>
                </a:solidFill>
                <a:latin typeface="Inter" panose="02000503000000020004" pitchFamily="2" charset="0"/>
                <a:ea typeface="Inter" panose="02000503000000020004" pitchFamily="2" charset="0"/>
                <a:cs typeface="Space Grotesk" pitchFamily="2" charset="77"/>
              </a:rPr>
              <a:t>Ingolstadt</a:t>
            </a:r>
          </a:p>
          <a:p>
            <a:r>
              <a:rPr lang="de-DE" sz="2000" b="1">
                <a:solidFill>
                  <a:schemeClr val="bg1"/>
                </a:solidFill>
                <a:latin typeface="Inter" panose="02000503000000020004" pitchFamily="2" charset="0"/>
                <a:ea typeface="Inter" panose="02000503000000020004" pitchFamily="2" charset="0"/>
                <a:cs typeface="Space Grotesk" pitchFamily="2" charset="77"/>
              </a:rPr>
              <a:t>Augsburg</a:t>
            </a:r>
          </a:p>
          <a:p>
            <a:r>
              <a:rPr lang="de-DE" sz="2000" b="1">
                <a:solidFill>
                  <a:srgbClr val="FFFFFF">
                    <a:alpha val="40000"/>
                  </a:srgbClr>
                </a:solidFill>
                <a:latin typeface="Inter" panose="02000503000000020004" pitchFamily="2" charset="0"/>
                <a:ea typeface="Inter" panose="02000503000000020004" pitchFamily="2" charset="0"/>
                <a:cs typeface="Space Grotesk" pitchFamily="2" charset="77"/>
              </a:rPr>
              <a:t>Haßfurt</a:t>
            </a:r>
          </a:p>
          <a:p>
            <a:r>
              <a:rPr lang="de-DE" sz="2000" b="1">
                <a:solidFill>
                  <a:srgbClr val="FFFFFF">
                    <a:alpha val="29804"/>
                  </a:srgbClr>
                </a:solidFill>
                <a:latin typeface="Inter"/>
                <a:ea typeface="Inter" panose="02000503000000020004" pitchFamily="2" charset="0"/>
                <a:cs typeface="Space Grotesk" pitchFamily="2" charset="77"/>
              </a:rPr>
              <a:t>Kempten</a:t>
            </a:r>
            <a:endParaRPr lang="de-DE" sz="2000" b="1">
              <a:solidFill>
                <a:srgbClr val="FFFFFF">
                  <a:alpha val="29804"/>
                </a:srgbClr>
              </a:solidFill>
              <a:latin typeface="Inter" panose="02000503000000020004" pitchFamily="2" charset="0"/>
              <a:ea typeface="Inter" panose="02000503000000020004" pitchFamily="2" charset="0"/>
              <a:cs typeface="Space Grotesk" pitchFamily="2" charset="77"/>
            </a:endParaRPr>
          </a:p>
          <a:p>
            <a:r>
              <a:rPr lang="de-DE" sz="2000" b="1">
                <a:solidFill>
                  <a:srgbClr val="FFFFFF">
                    <a:alpha val="20000"/>
                  </a:srgbClr>
                </a:solidFill>
                <a:latin typeface="Inter" panose="02000503000000020004" pitchFamily="2" charset="0"/>
                <a:ea typeface="Inter" panose="02000503000000020004" pitchFamily="2" charset="0"/>
                <a:cs typeface="Space Grotesk" pitchFamily="2" charset="77"/>
              </a:rPr>
              <a:t>Deggendorf</a:t>
            </a:r>
            <a:r>
              <a:rPr lang="de-DE" sz="2000" b="1">
                <a:solidFill>
                  <a:srgbClr val="FFFFFF">
                    <a:alpha val="9804"/>
                  </a:srgbClr>
                </a:solidFill>
                <a:latin typeface="Inter" panose="02000503000000020004" pitchFamily="2" charset="0"/>
                <a:ea typeface="Inter" panose="02000503000000020004" pitchFamily="2" charset="0"/>
                <a:cs typeface="Space Grotesk" pitchFamily="2" charset="77"/>
              </a:rPr>
              <a:t> </a:t>
            </a:r>
          </a:p>
          <a:p>
            <a:r>
              <a:rPr lang="de-DE" sz="2000" b="1" err="1">
                <a:solidFill>
                  <a:srgbClr val="FFFFFF">
                    <a:alpha val="9804"/>
                  </a:srgbClr>
                </a:solidFill>
                <a:latin typeface="Inter" panose="02000503000000020004" pitchFamily="2" charset="0"/>
                <a:ea typeface="Inter" panose="02000503000000020004" pitchFamily="2" charset="0"/>
                <a:cs typeface="Space Grotesk" pitchFamily="2" charset="77"/>
              </a:rPr>
              <a:t>Lk</a:t>
            </a:r>
            <a:r>
              <a:rPr lang="de-DE" sz="2000" b="1">
                <a:solidFill>
                  <a:srgbClr val="FFFFFF">
                    <a:alpha val="9804"/>
                  </a:srgbClr>
                </a:solidFill>
                <a:latin typeface="Inter" panose="02000503000000020004" pitchFamily="2" charset="0"/>
                <a:ea typeface="Inter" panose="02000503000000020004" pitchFamily="2" charset="0"/>
                <a:cs typeface="Space Grotesk" pitchFamily="2" charset="77"/>
              </a:rPr>
              <a:t>-Regensburg</a:t>
            </a:r>
          </a:p>
          <a:p>
            <a:r>
              <a:rPr lang="de-DE" sz="2000" b="1">
                <a:solidFill>
                  <a:srgbClr val="FFFFFF">
                    <a:alpha val="9804"/>
                  </a:srgbClr>
                </a:solidFill>
                <a:latin typeface="Inter" panose="02000503000000020004" pitchFamily="2" charset="0"/>
                <a:ea typeface="Inter" panose="02000503000000020004" pitchFamily="2" charset="0"/>
                <a:cs typeface="Space Grotesk" pitchFamily="2" charset="77"/>
              </a:rPr>
              <a:t>…</a:t>
            </a:r>
            <a:endParaRPr lang="de-DE" sz="700" b="1">
              <a:solidFill>
                <a:srgbClr val="015D85"/>
              </a:solidFill>
              <a:latin typeface="Inter" panose="02000503000000020004" pitchFamily="2" charset="0"/>
              <a:ea typeface="Inter" panose="02000503000000020004" pitchFamily="2" charset="0"/>
            </a:endParaRPr>
          </a:p>
        </p:txBody>
      </p:sp>
    </p:spTree>
    <p:extLst>
      <p:ext uri="{BB962C8B-B14F-4D97-AF65-F5344CB8AC3E}">
        <p14:creationId xmlns:p14="http://schemas.microsoft.com/office/powerpoint/2010/main" val="1544568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LANGUAGE_ID" val="1031"/>
  <p:tag name="EE4P_AGENDAWIZARD" val="&lt;ee4p&gt;&#10;    &lt;layouts&gt;&#10;        &lt;layout name=&quot;Box 1&quot; id=&quot;1_1&quot;&gt;&#10;            &lt;standard&gt;&#10;                &lt;textframe marginTop=&quot;6&quot; horizontalAnchor=&quot;1&quot; marginLeft=&quot;0&quot; marginBottom=&quot;6&quot; marginRight=&quot;0&quot; orientation=&quot;1&quot; verticalAnchor=&quot;1&quot;/&gt;&#10;                &lt;font bold=&quot;0&quot; name=&quot;+mn-lt&quot; italic=&quot;0&quot; color=&quot;13&quot;/&gt;&#10;                &lt;paragraphformat lineRuleAfter=&quot;&quot; lineRuleBefore=&quot;&quot; leftIndent=&quot;0&quot; rightIndent=&quot;0&quot; firstLineIndent=&quot;0&quot; lineRuleWithin=&quot;&quot; spaceWithin=&quot;&quot; spaceBefore=&quot;&quot; spaceAfter=&quot;&quot;/&gt;&#10;                &lt;fill visible=&quot;0&quot;/&gt;&#10;                &lt;line visible=&quot;0&quot;/&gt;&#10;                &lt;shadow visible=&quot;0&quot;/&gt;&#10;                &lt;bulletformat visible=&quot;0&quot;/&gt;&#10;            &lt;/standard&gt;&#10;            &lt;agenda createSingleAgendaSlide=&quot;1&quot; createSeparatingSlides=&quot;1&quot; subtitle=&quot;&quot; startItemNo=&quot;1&quot; fontSizeAuto=&quot;1&quot; title=&quot;Agenda&quot; createBackupSlide=&quot;1&quot; sizingModeId=&quot;2&quot; fontSize=&quot;16&quot; startTime=&quot;540&quot; name=&quot;New Agenda&quot; timeFormatId=&quot;1&quot;/&gt;&#10;            &lt;columns&gt;&#10;                &lt;column checked=&quot;1&quot; rightSpacing=&quot;0&quot; fixedWidth=&quot;31.50472&quot; field=&quot;itemno&quot; label=&quot;No.&quot; leftSpacing=&quot;0&quot; dock=&quot;1&quot;/&gt;&#10;                &lt;column dock=&quot;1&quot; label=&quot;Topic&quot; leftSpacing=&quot;5&quot; field=&quot;topic&quot; rightDistribute=&quot;1&quot;/&gt;&#10;                &lt;column checked=&quot;1&quot; visible=&quot;1&quot; field=&quot;responsible&quot; label=&quot;Responsible&quot; leftSpacing=&quot;10&quot; rightDistribute=&quot;1&quot; dock=&quot;1&quot;/&gt;&#10;                &lt;column checked=&quot;0&quot; visible=&quot;1&quot; field=&quot;freecolumn&quot; label=&quot;&quot; leftSpacing=&quot;10&quot; rightDistribute=&quot;1&quot; dock=&quot;1&quot;/&gt;&#10;                &lt;column checked=&quot;1&quot; rightSpacing=&quot;6&quot; visible=&quot;1&quot; field=&quot;timeslot&quot; label=&quot;Time Slot&quot; leftSpacing=&quot;10&quot; dock=&quot;2&quot;/&gt;&#10;                &lt;column checked=&quot;0&quot; rightSpacing=&quot;6&quot; visible=&quot;1&quot; field=&quot;pageno&quot; label=&quot;Page No.&quot; leftSpacing=&quot;10&quot; dock=&quot;2&quot;/&gt;&#10;            &lt;/columns&gt;&#10;            &lt;position top=&quot;135.25&quot; width=&quot;878.8124&quot; left=&quot;40.49992&quot; height=&quot;350.25&quot;/&gt;&#10;            &lt;settings backupSlideTitle=&quot;Backup: %agendaName%&quot; allowedTimeFormatIds=&quot;1|2|3&quot; allowedLevels=&quot;4&quot; customLayoutName=&quot;Nur Titel|Title Only&quot; itemNoFormats=&quot;{1}¦{1}.{2}¦{3:alphaLC}¦{3:alphaLC}.{4:alphaLC}&quot; topMargin=&quot;0&quot; allowedFontSizes=&quot;8|9|10|10.5|11|12|14|16|18&quot; singleAgendaSlideSelected=&quot;0&quot; slideLayout=&quot;11&quot; customLayoutIndex=&quot;&quot; allowedSizingModeIds=&quot;1|2&quot; showBreak=&quot;1&quot; leftMargin=&quot;0&quot;/&gt;&#10;            &lt;cases&gt;&#10;                &lt;case topMaxSpacing=&quot;5&quot; level=&quot;1&quot; selected=&quot;0&quot; bottomMinSpacing=&quot;0&quot; topMinSpacing=&quot;5&quot; break=&quot;0&quot; bottomMaxSpacing=&quot;0&quo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textframe marginLeft=&quot;6&quot;/&gt;&#10;                        &lt;font bold=&quot;1&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1&quot; bottomMinSpacing=&quot;0&quot; topMinSpacing=&quot;5&quot; break=&quot;0&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itemno&quot; indentType=&quot;1&quot;&gt;&#10;                        &lt;textframe marginLeft=&quot;6&quot; verticalAnchor=&quot;3&quot; marginRight=&quot;6&quot;/&gt;&#10;                        &lt;paragraphformat alignment=&quot;2&quot;/&gt;&#10;                        &lt;fill foreColor=&quot;5&quot; visible=&quot;1&quot;/&gt;&#10;                        &lt;font color=&quot;14&quot; bold=&quot;1&quot;/&gt;&#10;                    &lt;/element&gt;&#10;                    &lt;element indent=&quot;(level-1)*(itemSingleHeight+topicLeftSpacing)&quot; autoShapeType=&quot;1&quot; type=&quot;autoshape&quot; field=&quot;topic&quot; indentType=&quot;2&quot;&gt;&#10;                        &lt;paragraphformat alignment=&quot;1&quot;/&gt;&#10;                        &lt;font bold=&quot;1&quot;/&gt;&#10;                        &lt;textframe marginLeft=&quot;6&quot;/&gt;&#10;                    &lt;/element&gt;&#10;                    &lt;element indent=&quot;(level-1)*(itemSingleHeight+topicLeftSpacing)&quot; autoShapeType=&quot;1&quot; type=&quot;autoshape&quot; field=&quot;responsible&quot; indentType=&quot;1&quot;&gt;&#10;                        &lt;paragraphformat alignment=&quot;1&quot;/&gt;&#10;                    &lt;/element&gt;&#10;                    &lt;element indent=&quot;(level-1)*(itemSingleHeight+topicLeftSpacing)&quot; autoShapeType=&quot;1&quot; type=&quot;autoshape&quot; field=&quot;freecolumn&quot; indentType=&quot;1&quot;&gt;&#10;                        &lt;paragraphformat alignment=&quot;1&quot;/&gt;&#10;                    &lt;/element&gt;&#10;                    &lt;element field=&quot;timeslot&quot; type=&quot;autoshape&quot; autoShapeType=&quot;1&quot;&gt;&#10;                        &lt;paragraphformat alignment=&quot;1&quot;/&gt;&#10;                    &lt;/element&gt;&#10;                    &lt;element field=&quot;pageno&quot; type=&quot;autoshape&quot; autoShapeType=&quot;1&quot;&gt;&#10;                        &lt;paragraphformat alignment=&quot;3&quot;/&gt;&#10;                    &lt;/element&gt;&#10;                &lt;/case&gt;&#10;                &lt;case topMaxSpacing=&quot;5&quot; level=&quot;1&quot; selected=&quot;0&quot; bottomMinSpacing=&quot;0&quot; topMinSpacing=&quot;5&quot; break=&quot;1&quot; bottomMaxSpacing=&quot;0&quot;&gt;&#10;                    &lt;element indent=&quot;(level-1)*(itemSingleHeight+topicLeftSpacing)&quot; autoShapeType=&quot;1&quot; type=&quot;autoshape&quot; field=&quot;topic&quot; indentType=&quot;2&quot;&gt;&#10;                        &lt;paragraphformat alignment=&quot;1&quot;/&gt;&#10;                        &lt;textframe marginLeft=&quot;6&quot;/&gt;&#10;                        &lt;font bold=&quot;1&quot; italic=&quot;1&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 topMaxSpacing=&quot;5&quot; level=&quot;1&quot; selected=&quot;1&quot; bottomMinSpacing=&quot;0&quot; topMinSpacing=&quot;5&quot; break=&quot;1&quot; bottomMaxSpacing=&quot;0&quot;&gt;&#10;                    &lt;element type=&quot;autoshape&quot; autoShapeType=&quot;1&quot; value=&quot;&quot;&gt;&#10;                        &lt;position top=&quot;0&quot; width=&quot;agendaWidth-topicLeftSpacing-itemNoWidth-(level-1)*(itemSingleHeight+topicLeftSpacing)&quot; left=&quot;level*(itemSingleHeight+topicLeftSpacing)&quot; height=&quot;itemHeight&quot;/&gt;&#10;                        &lt;fill foreColor=&quot;#D9D9D9&quot; visible=&quot;1&quot;/&gt;&#10;                    &lt;/element&gt;&#10;                    &lt;element indent=&quot;(level-1)*(itemSingleHeight+topicLeftSpacing)&quot; autoShapeType=&quot;1&quot; type=&quot;autoshape&quot; field=&quot;topic&quot; indentType=&quot;2&quot;&gt;&#10;                        &lt;paragraphformat alignment=&quot;1&quot;/&gt;&#10;                        &lt;font bold=&quot;1&quot; italic=&quot;1&quot;/&gt;&#10;                        &lt;textframe marginLeft=&quot;6&quot;/&gt;&#10;                    &lt;/element&gt;&#10;                    &lt;element indent=&quot;(level-1)*(itemSingleHeight+topicLeftSpacing)&quot; autoShapeType=&quot;1&quot; type=&quot;autoshape&quot; field=&quot;responsible&quot; indentType=&quot;1&quot;&gt;&#10;                        &lt;paragraphformat alignment=&quot;1&quot;/&gt;&#10;                        &lt;font italic=&quot;1&quot;/&gt;&#10;                    &lt;/element&gt;&#10;                    &lt;element indent=&quot;(level-1)*(itemSingleHeight+topicLeftSpacing)&quot; autoShapeType=&quot;1&quot; type=&quot;autoshape&quot; field=&quot;freecolumn&quot; indentType=&quot;1&quot;&gt;&#10;                        &lt;paragraphformat alignment=&quot;1&quot;/&gt;&#10;                        &lt;font italic=&quot;1&quot;/&gt;&#10;                    &lt;/element&gt;&#10;                    &lt;element field=&quot;timeslot&quot; type=&quot;autoshape&quot; autoShapeType=&quot;1&quot;&gt;&#10;                        &lt;paragraphformat alignment=&quot;1&quot;/&gt;&#10;                        &lt;font italic=&quot;1&quot;/&gt;&#10;                    &lt;/element&gt;&#10;                    &lt;element field=&quot;pageno&quot; type=&quot;autoshape&quot; autoShapeType=&quot;1&quot;&gt;&#10;                        &lt;paragraphformat alignment=&quot;3&quot;/&gt;&#10;                        &lt;font italic=&quot;1&quot;/&gt;&#10;                    &lt;/element&gt;&#10;                &lt;/case&gt;&#10;            &lt;/cases&gt;&#10;            &lt;elements/&gt;&#10;        &lt;/layout&gt;&#10;    &lt;/layouts&gt;&#10;    &lt;contents&gt;&#10;        &lt;agenda backupSlideId=&quot;c86b3972-7698-4ca1-b4aa-3721d8801747&quot; sizingModeId=&quot;2&quot; fontSizeAuto=&quot;1&quot; title=&quot;Agenda&quot; subtitle=&quot;&quot; timeFormatId=&quot;1&quot; backupSectionId=&quot;&quot; createBackupSlide=&quot;1&quot; name=&quot;New Agenda&quot; singleSlideId=&quot;3b23ad9b-b151-4766-9b48-0f04d05aae63&quot; createSeparatingSlides=&quot;1&quot; fontSize=&quot;16&quot; createSingleAgendaSlide=&quot;1&quot; createSections=&quot;0&quot; startTime=&quot;540&quot; layoutId=&quot;1_1&quot; startItemNo=&quot;1&quot;&gt;&#10;            &lt;columns&gt;&#10;                &lt;column rightSpacing=&quot;0&quot; label=&quot;No.&quot; leftSpacing=&quot;0&quot; dock=&quot;1&quot; fixedWidth=&quot;31.50471999999999488&quot; checked=&quot;1&quot; field=&quot;itemno&quot;/&gt;&#10;                &lt;column leftSpacing=&quot;5&quot; label=&quot;Topic&quot; fixedWidth=&quot;0&quot; rightSpacing=&quot;360.311046665259&quot; dock=&quot;1&quot; field=&quot;topic&quot;/&gt;&#10;                &lt;column field=&quot;responsible&quot; checked=&quot;1&quot; fixedWidth=&quot;0&quot; leftSpacing=&quot;10&quot; visible=&quot;1&quot; rightSpacing=&quot;360.311046665259&quot; label=&quot;Responsible&quot; dock=&quot;1&quot;/&gt;&#10;                &lt;column checked=&quot;0&quot; leftSpacing=&quot;10&quot; dock=&quot;1&quot; label=&quot;&quot; visible=&quot;1&quot; fixedWidth=&quot;0&quot; rightSpacing=&quot;0&quot; field=&quot;freecolumn&quot;/&gt;&#10;                &lt;column rightSpacing=&quot;6&quot; label=&quot;Time Slot&quot; leftSpacing=&quot;10&quot; checked=&quot;1&quot; fixedWidth=&quot;0&quot; dock=&quot;2&quot; visible=&quot;1&quot; field=&quot;timeslot&quot;/&gt;&#10;                &lt;column leftSpacing=&quot;10&quot; rightSpacing=&quot;6&quot; visible=&quot;1&quot; checked=&quot;0&quot; dock=&quot;2&quot; fixedWidth=&quot;0&quot; label=&quot;Page No.&quot; field=&quot;pageno&quot;/&gt;&#10;            &lt;/columns&gt;&#10;            &lt;items&gt;&#10;                &lt;item agendaSlideId=&quot;e20139c0-7951-4cc1-b05f-3027b41f7bfd&quot; duration=&quot;30&quot; sectionId=&quot;&quot; showAgendaItem=&quot;1&quot; isBreak=&quot;0&quot; topic=&quot;&quot; id=&quot;06ce2470-6978-407b-96f5-dcc6109d51e1&quot; parentId=&quot;&quot; level=&quot;1&quot; generateAgendaSlide=&quot;1&quot;/&gt;&#10;            &lt;/items&gt;&#10;        &lt;/agenda&gt;&#10;    &lt;/contents&gt;&#10;&lt;/ee4p&gt;"/>
  <p:tag name="THINKCELLPRESENTATIONDONOTDELETE" val="&lt;?xml version=&quot;1.0&quot; encoding=&quot;UTF-16&quot; standalone=&quot;yes&quot;?&gt;&lt;root reqver=&quot;27037&quot;&gt;&lt;version val=&quot;3309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yte.bayern_white">
  <a:themeElements>
    <a:clrScheme name="byte - Farbschema 2023">
      <a:dk1>
        <a:srgbClr val="000000"/>
      </a:dk1>
      <a:lt1>
        <a:srgbClr val="FFFFFF"/>
      </a:lt1>
      <a:dk2>
        <a:srgbClr val="000000"/>
      </a:dk2>
      <a:lt2>
        <a:srgbClr val="FFFFFF"/>
      </a:lt2>
      <a:accent1>
        <a:srgbClr val="E6E6E6"/>
      </a:accent1>
      <a:accent2>
        <a:srgbClr val="009FE3"/>
      </a:accent2>
      <a:accent3>
        <a:srgbClr val="A1DAF8"/>
      </a:accent3>
      <a:accent4>
        <a:srgbClr val="D4EDFC"/>
      </a:accent4>
      <a:accent5>
        <a:srgbClr val="E30613"/>
      </a:accent5>
      <a:accent6>
        <a:srgbClr val="E1DD00"/>
      </a:accent6>
      <a:hlink>
        <a:srgbClr val="009FE3"/>
      </a:hlink>
      <a:folHlink>
        <a:srgbClr val="A1DAF8"/>
      </a:folHlink>
    </a:clrScheme>
    <a:fontScheme name="byte_Schrift">
      <a:majorFont>
        <a:latin typeface="Untitled Sans Medium"/>
        <a:ea typeface=""/>
        <a:cs typeface=""/>
      </a:majorFont>
      <a:minorFont>
        <a:latin typeface="Untitled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defPPr>
      </a:lstStyle>
    </a:txDef>
  </a:objectDefaults>
  <a:extraClrSchemeLst/>
  <a:extLst>
    <a:ext uri="{05A4C25C-085E-4340-85A3-A5531E510DB2}">
      <thm15:themeFamily xmlns:thm15="http://schemas.microsoft.com/office/thememl/2012/main" name="byte_Master.potx" id="{91A32861-3515-4819-9200-625224FF7D9C}" vid="{E2FE995A-9394-4857-947F-36F4A2377503}"/>
    </a:ext>
  </a:extLst>
</a:theme>
</file>

<file path=ppt/theme/theme2.xml><?xml version="1.0" encoding="utf-8"?>
<a:theme xmlns:a="http://schemas.openxmlformats.org/drawingml/2006/main" name="Office">
  <a:themeElements>
    <a:clrScheme name="byte_Farben">
      <a:dk1>
        <a:srgbClr val="000000"/>
      </a:dk1>
      <a:lt1>
        <a:sysClr val="window" lastClr="FFFFFF"/>
      </a:lt1>
      <a:dk2>
        <a:srgbClr val="000000"/>
      </a:dk2>
      <a:lt2>
        <a:srgbClr val="FFFFFF"/>
      </a:lt2>
      <a:accent1>
        <a:srgbClr val="E6E6E6"/>
      </a:accent1>
      <a:accent2>
        <a:srgbClr val="009FE3"/>
      </a:accent2>
      <a:accent3>
        <a:srgbClr val="A1DAF8"/>
      </a:accent3>
      <a:accent4>
        <a:srgbClr val="D4EDFC"/>
      </a:accent4>
      <a:accent5>
        <a:srgbClr val="E30613"/>
      </a:accent5>
      <a:accent6>
        <a:srgbClr val="E1DD00"/>
      </a:accent6>
      <a:hlink>
        <a:srgbClr val="009FE3"/>
      </a:hlink>
      <a:folHlink>
        <a:srgbClr val="A1DAF8"/>
      </a:folHlink>
    </a:clrScheme>
    <a:fontScheme name="byte_Schrift">
      <a:majorFont>
        <a:latin typeface="Untitled Sans Medium"/>
        <a:ea typeface=""/>
        <a:cs typeface=""/>
      </a:majorFont>
      <a:minorFont>
        <a:latin typeface="Untitled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defPPr>
      </a:lstStyle>
    </a:txDef>
  </a:objectDefaults>
  <a:extraClrSchemeLst/>
  <a:extLst>
    <a:ext uri="{05A4C25C-085E-4340-85A3-A5531E510DB2}">
      <thm15:themeFamily xmlns:thm15="http://schemas.microsoft.com/office/thememl/2012/main" name="byte_Master.potx" id="{91A32861-3515-4819-9200-625224FF7D9C}" vid="{E2FE995A-9394-4857-947F-36F4A2377503}"/>
    </a:ext>
  </a:extLst>
</a:theme>
</file>

<file path=ppt/theme/theme3.xml><?xml version="1.0" encoding="utf-8"?>
<a:theme xmlns:a="http://schemas.openxmlformats.org/drawingml/2006/main" name="Office">
  <a:themeElements>
    <a:clrScheme name="byte_Farben">
      <a:dk1>
        <a:srgbClr val="1D1D1B"/>
      </a:dk1>
      <a:lt1>
        <a:sysClr val="window" lastClr="FFFFFF"/>
      </a:lt1>
      <a:dk2>
        <a:srgbClr val="1D1D1B"/>
      </a:dk2>
      <a:lt2>
        <a:srgbClr val="FFFFFF"/>
      </a:lt2>
      <a:accent1>
        <a:srgbClr val="E2E2E2"/>
      </a:accent1>
      <a:accent2>
        <a:srgbClr val="009FE3"/>
      </a:accent2>
      <a:accent3>
        <a:srgbClr val="A1DAF8"/>
      </a:accent3>
      <a:accent4>
        <a:srgbClr val="D4EDFC"/>
      </a:accent4>
      <a:accent5>
        <a:srgbClr val="E30613"/>
      </a:accent5>
      <a:accent6>
        <a:srgbClr val="E1DD00"/>
      </a:accent6>
      <a:hlink>
        <a:srgbClr val="009FE3"/>
      </a:hlink>
      <a:folHlink>
        <a:srgbClr val="A1DAF8"/>
      </a:folHlink>
    </a:clrScheme>
    <a:fontScheme name="byte_Schrift">
      <a:majorFont>
        <a:latin typeface="Untitled Sans Medium"/>
        <a:ea typeface=""/>
        <a:cs typeface=""/>
      </a:majorFont>
      <a:minorFont>
        <a:latin typeface="Untitled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byte_Farben">
      <a:dk1>
        <a:srgbClr val="1D1D1B"/>
      </a:dk1>
      <a:lt1>
        <a:sysClr val="window" lastClr="FFFFFF"/>
      </a:lt1>
      <a:dk2>
        <a:srgbClr val="1D1D1B"/>
      </a:dk2>
      <a:lt2>
        <a:srgbClr val="FFFFFF"/>
      </a:lt2>
      <a:accent1>
        <a:srgbClr val="E2E2E2"/>
      </a:accent1>
      <a:accent2>
        <a:srgbClr val="009FE3"/>
      </a:accent2>
      <a:accent3>
        <a:srgbClr val="A1DAF8"/>
      </a:accent3>
      <a:accent4>
        <a:srgbClr val="D4EDFC"/>
      </a:accent4>
      <a:accent5>
        <a:srgbClr val="E30613"/>
      </a:accent5>
      <a:accent6>
        <a:srgbClr val="E1DD00"/>
      </a:accent6>
      <a:hlink>
        <a:srgbClr val="009FE3"/>
      </a:hlink>
      <a:folHlink>
        <a:srgbClr val="A1DAF8"/>
      </a:folHlink>
    </a:clrScheme>
    <a:fontScheme name="byte_Schrift">
      <a:majorFont>
        <a:latin typeface="Untitled Sans Medium"/>
        <a:ea typeface=""/>
        <a:cs typeface=""/>
      </a:majorFont>
      <a:minorFont>
        <a:latin typeface="Untitled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LengthInSeconds xmlns="aa912206-eb56-4493-857d-0eada8b62e2a" xsi:nil="true"/>
    <SharedWithUsers xmlns="39550a0b-b2a5-4467-b90a-4fdbec6880de">
      <UserInfo>
        <DisplayName/>
        <AccountId xsi:nil="true"/>
        <AccountType/>
      </UserInfo>
    </SharedWithUsers>
    <lcf76f155ced4ddcb4097134ff3c332f xmlns="aa912206-eb56-4493-857d-0eada8b62e2a">
      <Terms xmlns="http://schemas.microsoft.com/office/infopath/2007/PartnerControls"/>
    </lcf76f155ced4ddcb4097134ff3c332f>
    <TaxCatchAll xmlns="39550a0b-b2a5-4467-b90a-4fdbec6880d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84AAA522071B9642AB5858CA550C8863" ma:contentTypeVersion="15" ma:contentTypeDescription="Ein neues Dokument erstellen." ma:contentTypeScope="" ma:versionID="85815b08ba8268663b92359c8da42864">
  <xsd:schema xmlns:xsd="http://www.w3.org/2001/XMLSchema" xmlns:xs="http://www.w3.org/2001/XMLSchema" xmlns:p="http://schemas.microsoft.com/office/2006/metadata/properties" xmlns:ns2="aa912206-eb56-4493-857d-0eada8b62e2a" xmlns:ns3="39550a0b-b2a5-4467-b90a-4fdbec6880de" targetNamespace="http://schemas.microsoft.com/office/2006/metadata/properties" ma:root="true" ma:fieldsID="54454fa8e75af5e8bccf94725a0b479a" ns2:_="" ns3:_="">
    <xsd:import namespace="aa912206-eb56-4493-857d-0eada8b62e2a"/>
    <xsd:import namespace="39550a0b-b2a5-4467-b90a-4fdbec6880d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912206-eb56-4493-857d-0eada8b62e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4d40b4ef-d58a-4439-bf11-60c7bc613c53"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9550a0b-b2a5-4467-b90a-4fdbec6880de"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6adbdac1-a0e2-4e57-b7df-b790b11e9fe9}" ma:internalName="TaxCatchAll" ma:showField="CatchAllData" ma:web="39550a0b-b2a5-4467-b90a-4fdbec6880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978A89-D7D6-42E0-A2C6-6C653EAA7B48}">
  <ds:schemaRefs>
    <ds:schemaRef ds:uri="http://schemas.microsoft.com/sharepoint/v3/contenttype/forms"/>
  </ds:schemaRefs>
</ds:datastoreItem>
</file>

<file path=customXml/itemProps2.xml><?xml version="1.0" encoding="utf-8"?>
<ds:datastoreItem xmlns:ds="http://schemas.openxmlformats.org/officeDocument/2006/customXml" ds:itemID="{79EC5C8B-AA6B-4809-97A5-484EFB539FBC}">
  <ds:schemaRefs>
    <ds:schemaRef ds:uri="http://schemas.microsoft.com/office/2006/documentManagement/types"/>
    <ds:schemaRef ds:uri="http://purl.org/dc/elements/1.1/"/>
    <ds:schemaRef ds:uri="http://purl.org/dc/dcmitype/"/>
    <ds:schemaRef ds:uri="http://purl.org/dc/terms/"/>
    <ds:schemaRef ds:uri="http://schemas.openxmlformats.org/package/2006/metadata/core-properties"/>
    <ds:schemaRef ds:uri="http://schemas.microsoft.com/office/infopath/2007/PartnerControls"/>
    <ds:schemaRef ds:uri="39550a0b-b2a5-4467-b90a-4fdbec6880de"/>
    <ds:schemaRef ds:uri="aa912206-eb56-4493-857d-0eada8b62e2a"/>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64A03E21-B1A3-46F4-A215-43F7CCDCFE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912206-eb56-4493-857d-0eada8b62e2a"/>
    <ds:schemaRef ds:uri="39550a0b-b2a5-4467-b90a-4fdbec6880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96</Words>
  <Application>Microsoft Macintosh PowerPoint</Application>
  <PresentationFormat>Breitbild</PresentationFormat>
  <Paragraphs>64</Paragraphs>
  <Slides>10</Slides>
  <Notes>6</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0</vt:i4>
      </vt:variant>
    </vt:vector>
  </HeadingPairs>
  <TitlesOfParts>
    <vt:vector size="22" baseType="lpstr">
      <vt:lpstr>Andale Mono</vt:lpstr>
      <vt:lpstr>Arial</vt:lpstr>
      <vt:lpstr>Inter</vt:lpstr>
      <vt:lpstr>Space Grotesk</vt:lpstr>
      <vt:lpstr>System Font Regular</vt:lpstr>
      <vt:lpstr>Untitled Sans Light</vt:lpstr>
      <vt:lpstr>Untitled Sans Medium</vt:lpstr>
      <vt:lpstr>untitled-sans</vt:lpstr>
      <vt:lpstr>Wingdings</vt:lpstr>
      <vt:lpstr>byte.bayern_white</vt:lpstr>
      <vt:lpstr>Office</vt:lpstr>
      <vt:lpstr>think-cell Slide</vt:lpstr>
      <vt:lpstr>Wir machen Bayern  #openbydata. </vt:lpstr>
      <vt:lpstr>PowerPoint-Präsentation</vt:lpstr>
      <vt:lpstr>PowerPoint-Präsentation</vt:lpstr>
      <vt:lpstr>Angebot #1 – Unsere Beratung</vt:lpstr>
      <vt:lpstr>PowerPoint-Präsentation</vt:lpstr>
      <vt:lpstr>Angebot #2 – Unsere Handreichung</vt:lpstr>
      <vt:lpstr>PowerPoint-Präsentation</vt:lpstr>
      <vt:lpstr>Angebot #3 – Unsere Infrastruktur</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Till Hufmann</dc:creator>
  <cp:lastModifiedBy>Luis Moßburger</cp:lastModifiedBy>
  <cp:revision>1</cp:revision>
  <dcterms:created xsi:type="dcterms:W3CDTF">2023-04-18T14:28:28Z</dcterms:created>
  <dcterms:modified xsi:type="dcterms:W3CDTF">2024-01-18T09: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xd_ProgID">
    <vt:lpwstr/>
  </property>
  <property fmtid="{D5CDD505-2E9C-101B-9397-08002B2CF9AE}" pid="3" name="MediaServiceImageTags">
    <vt:lpwstr/>
  </property>
  <property fmtid="{D5CDD505-2E9C-101B-9397-08002B2CF9AE}" pid="4" name="ContentTypeId">
    <vt:lpwstr>0x01010084AAA522071B9642AB5858CA550C8863</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Order">
    <vt:r8>1396200</vt:r8>
  </property>
  <property fmtid="{D5CDD505-2E9C-101B-9397-08002B2CF9AE}" pid="11" name="_SourceUrl">
    <vt:lpwstr/>
  </property>
  <property fmtid="{D5CDD505-2E9C-101B-9397-08002B2CF9AE}" pid="12" name="_SharedFileIndex">
    <vt:lpwstr/>
  </property>
</Properties>
</file>